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notesSlides/notesSlide1.xml" ContentType="application/vnd.openxmlformats-officedocument.presentationml.notesSlide+xml"/>
  <Override PartName="/ppt/charts/chart25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sldIdLst>
    <p:sldId id="1069" r:id="rId2"/>
    <p:sldId id="1089" r:id="rId3"/>
    <p:sldId id="1081" r:id="rId4"/>
    <p:sldId id="1100" r:id="rId5"/>
    <p:sldId id="1095" r:id="rId6"/>
    <p:sldId id="1084" r:id="rId7"/>
    <p:sldId id="1085" r:id="rId8"/>
    <p:sldId id="1102" r:id="rId9"/>
    <p:sldId id="1098" r:id="rId10"/>
    <p:sldId id="1101" r:id="rId11"/>
  </p:sldIdLst>
  <p:sldSz cx="12192000" cy="6858000"/>
  <p:notesSz cx="6797675" cy="9926638"/>
  <p:custDataLst>
    <p:tags r:id="rId1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in Curkovic" initials="MC" lastIdx="2" clrIdx="0">
    <p:extLst>
      <p:ext uri="{19B8F6BF-5375-455C-9EA6-DF929625EA0E}">
        <p15:presenceInfo xmlns:p15="http://schemas.microsoft.com/office/powerpoint/2012/main" userId="b3cc2e52765cba1c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EC0ED"/>
    <a:srgbClr val="FF7C80"/>
    <a:srgbClr val="75829A"/>
    <a:srgbClr val="0070C0"/>
    <a:srgbClr val="00B0F0"/>
    <a:srgbClr val="FF5050"/>
    <a:srgbClr val="007787"/>
    <a:srgbClr val="2EC4B6"/>
    <a:srgbClr val="C7990B"/>
    <a:srgbClr val="2F35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83993E0-1803-4FB1-84E0-169E58E429DA}" v="32" dt="2022-06-02T12:04:48.98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260" autoAdjust="0"/>
    <p:restoredTop sz="97579" autoAdjust="0"/>
  </p:normalViewPr>
  <p:slideViewPr>
    <p:cSldViewPr snapToGrid="0">
      <p:cViewPr varScale="1">
        <p:scale>
          <a:sx n="86" d="100"/>
          <a:sy n="86" d="100"/>
        </p:scale>
        <p:origin x="960" y="5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77" d="100"/>
          <a:sy n="77" d="100"/>
        </p:scale>
        <p:origin x="1973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microsoft.com/office/2016/11/relationships/changesInfo" Target="changesInfos/changesInfo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ovana Mladenovic" userId="68ad3ef0-87b3-4eb8-b350-097587589b84" providerId="ADAL" clId="{38A2210D-C835-49A6-9E94-CE316B643C6B}"/>
    <pc:docChg chg="modSld">
      <pc:chgData name="Jovana Mladenovic" userId="68ad3ef0-87b3-4eb8-b350-097587589b84" providerId="ADAL" clId="{38A2210D-C835-49A6-9E94-CE316B643C6B}" dt="2022-02-04T08:16:17.977" v="1" actId="27918"/>
      <pc:docMkLst>
        <pc:docMk/>
      </pc:docMkLst>
      <pc:sldChg chg="mod">
        <pc:chgData name="Jovana Mladenovic" userId="68ad3ef0-87b3-4eb8-b350-097587589b84" providerId="ADAL" clId="{38A2210D-C835-49A6-9E94-CE316B643C6B}" dt="2022-02-04T08:16:17.977" v="1" actId="27918"/>
        <pc:sldMkLst>
          <pc:docMk/>
          <pc:sldMk cId="2144003466" sldId="1101"/>
        </pc:sldMkLst>
      </pc:sldChg>
    </pc:docChg>
  </pc:docChgLst>
  <pc:docChgLst>
    <pc:chgData name="Jovana Mladenovic" userId="68ad3ef0-87b3-4eb8-b350-097587589b84" providerId="ADAL" clId="{D9849B3C-AD4D-4890-A383-0DCC9E1F3D56}"/>
    <pc:docChg chg="undo custSel modSld">
      <pc:chgData name="Jovana Mladenovic" userId="68ad3ef0-87b3-4eb8-b350-097587589b84" providerId="ADAL" clId="{D9849B3C-AD4D-4890-A383-0DCC9E1F3D56}" dt="2022-03-02T20:58:16.367" v="977" actId="14100"/>
      <pc:docMkLst>
        <pc:docMk/>
      </pc:docMkLst>
      <pc:sldChg chg="modSp mod">
        <pc:chgData name="Jovana Mladenovic" userId="68ad3ef0-87b3-4eb8-b350-097587589b84" providerId="ADAL" clId="{D9849B3C-AD4D-4890-A383-0DCC9E1F3D56}" dt="2022-03-02T10:20:45.487" v="6" actId="20577"/>
        <pc:sldMkLst>
          <pc:docMk/>
          <pc:sldMk cId="4040105006" sldId="1069"/>
        </pc:sldMkLst>
        <pc:spChg chg="mod">
          <ac:chgData name="Jovana Mladenovic" userId="68ad3ef0-87b3-4eb8-b350-097587589b84" providerId="ADAL" clId="{D9849B3C-AD4D-4890-A383-0DCC9E1F3D56}" dt="2022-03-02T10:20:45.487" v="6" actId="20577"/>
          <ac:spMkLst>
            <pc:docMk/>
            <pc:sldMk cId="4040105006" sldId="1069"/>
            <ac:spMk id="3" creationId="{7B20ADE1-C66E-4679-9F31-35EB2AD5C90A}"/>
          </ac:spMkLst>
        </pc:spChg>
      </pc:sldChg>
      <pc:sldChg chg="modSp mod">
        <pc:chgData name="Jovana Mladenovic" userId="68ad3ef0-87b3-4eb8-b350-097587589b84" providerId="ADAL" clId="{D9849B3C-AD4D-4890-A383-0DCC9E1F3D56}" dt="2022-03-02T20:24:15.010" v="774" actId="20577"/>
        <pc:sldMkLst>
          <pc:docMk/>
          <pc:sldMk cId="282713152" sldId="1081"/>
        </pc:sldMkLst>
        <pc:spChg chg="mod">
          <ac:chgData name="Jovana Mladenovic" userId="68ad3ef0-87b3-4eb8-b350-097587589b84" providerId="ADAL" clId="{D9849B3C-AD4D-4890-A383-0DCC9E1F3D56}" dt="2022-03-02T20:24:15.010" v="774" actId="20577"/>
          <ac:spMkLst>
            <pc:docMk/>
            <pc:sldMk cId="282713152" sldId="1081"/>
            <ac:spMk id="18" creationId="{0F99F297-BDA2-43C9-9B22-D6A587715DE1}"/>
          </ac:spMkLst>
        </pc:spChg>
        <pc:graphicFrameChg chg="mod">
          <ac:chgData name="Jovana Mladenovic" userId="68ad3ef0-87b3-4eb8-b350-097587589b84" providerId="ADAL" clId="{D9849B3C-AD4D-4890-A383-0DCC9E1F3D56}" dt="2022-03-02T11:31:09.357" v="181"/>
          <ac:graphicFrameMkLst>
            <pc:docMk/>
            <pc:sldMk cId="282713152" sldId="1081"/>
            <ac:graphicFrameMk id="8" creationId="{975761D5-DFA6-4DCC-966B-BD7E3A573E0D}"/>
          </ac:graphicFrameMkLst>
        </pc:graphicFrameChg>
      </pc:sldChg>
      <pc:sldChg chg="modSp mod">
        <pc:chgData name="Jovana Mladenovic" userId="68ad3ef0-87b3-4eb8-b350-097587589b84" providerId="ADAL" clId="{D9849B3C-AD4D-4890-A383-0DCC9E1F3D56}" dt="2022-03-02T19:56:29.034" v="748" actId="20577"/>
        <pc:sldMkLst>
          <pc:docMk/>
          <pc:sldMk cId="3764823436" sldId="1084"/>
        </pc:sldMkLst>
        <pc:spChg chg="mod">
          <ac:chgData name="Jovana Mladenovic" userId="68ad3ef0-87b3-4eb8-b350-097587589b84" providerId="ADAL" clId="{D9849B3C-AD4D-4890-A383-0DCC9E1F3D56}" dt="2022-03-02T19:56:29.034" v="748" actId="20577"/>
          <ac:spMkLst>
            <pc:docMk/>
            <pc:sldMk cId="3764823436" sldId="1084"/>
            <ac:spMk id="17" creationId="{ADC961B4-B59A-4836-812F-EF8E26AC2889}"/>
          </ac:spMkLst>
        </pc:spChg>
        <pc:graphicFrameChg chg="mod modGraphic">
          <ac:chgData name="Jovana Mladenovic" userId="68ad3ef0-87b3-4eb8-b350-097587589b84" providerId="ADAL" clId="{D9849B3C-AD4D-4890-A383-0DCC9E1F3D56}" dt="2022-03-02T10:29:41.787" v="56" actId="20577"/>
          <ac:graphicFrameMkLst>
            <pc:docMk/>
            <pc:sldMk cId="3764823436" sldId="1084"/>
            <ac:graphicFrameMk id="8" creationId="{975761D5-DFA6-4DCC-966B-BD7E3A573E0D}"/>
          </ac:graphicFrameMkLst>
        </pc:graphicFrameChg>
      </pc:sldChg>
      <pc:sldChg chg="modSp mod">
        <pc:chgData name="Jovana Mladenovic" userId="68ad3ef0-87b3-4eb8-b350-097587589b84" providerId="ADAL" clId="{D9849B3C-AD4D-4890-A383-0DCC9E1F3D56}" dt="2022-03-02T19:56:18.074" v="733" actId="20577"/>
        <pc:sldMkLst>
          <pc:docMk/>
          <pc:sldMk cId="2061379642" sldId="1085"/>
        </pc:sldMkLst>
        <pc:spChg chg="mod">
          <ac:chgData name="Jovana Mladenovic" userId="68ad3ef0-87b3-4eb8-b350-097587589b84" providerId="ADAL" clId="{D9849B3C-AD4D-4890-A383-0DCC9E1F3D56}" dt="2022-03-02T19:56:18.074" v="733" actId="20577"/>
          <ac:spMkLst>
            <pc:docMk/>
            <pc:sldMk cId="2061379642" sldId="1085"/>
            <ac:spMk id="18" creationId="{0F99F297-BDA2-43C9-9B22-D6A587715DE1}"/>
          </ac:spMkLst>
        </pc:spChg>
        <pc:graphicFrameChg chg="mod modGraphic">
          <ac:chgData name="Jovana Mladenovic" userId="68ad3ef0-87b3-4eb8-b350-097587589b84" providerId="ADAL" clId="{D9849B3C-AD4D-4890-A383-0DCC9E1F3D56}" dt="2022-03-02T10:24:55.441" v="25"/>
          <ac:graphicFrameMkLst>
            <pc:docMk/>
            <pc:sldMk cId="2061379642" sldId="1085"/>
            <ac:graphicFrameMk id="8" creationId="{975761D5-DFA6-4DCC-966B-BD7E3A573E0D}"/>
          </ac:graphicFrameMkLst>
        </pc:graphicFrameChg>
      </pc:sldChg>
      <pc:sldChg chg="modSp mod">
        <pc:chgData name="Jovana Mladenovic" userId="68ad3ef0-87b3-4eb8-b350-097587589b84" providerId="ADAL" clId="{D9849B3C-AD4D-4890-A383-0DCC9E1F3D56}" dt="2022-03-02T20:23:52.403" v="759" actId="20577"/>
        <pc:sldMkLst>
          <pc:docMk/>
          <pc:sldMk cId="1242722526" sldId="1089"/>
        </pc:sldMkLst>
        <pc:spChg chg="mod">
          <ac:chgData name="Jovana Mladenovic" userId="68ad3ef0-87b3-4eb8-b350-097587589b84" providerId="ADAL" clId="{D9849B3C-AD4D-4890-A383-0DCC9E1F3D56}" dt="2022-03-02T20:23:52.403" v="759" actId="20577"/>
          <ac:spMkLst>
            <pc:docMk/>
            <pc:sldMk cId="1242722526" sldId="1089"/>
            <ac:spMk id="17" creationId="{ADC961B4-B59A-4836-812F-EF8E26AC2889}"/>
          </ac:spMkLst>
        </pc:spChg>
        <pc:graphicFrameChg chg="mod modGraphic">
          <ac:chgData name="Jovana Mladenovic" userId="68ad3ef0-87b3-4eb8-b350-097587589b84" providerId="ADAL" clId="{D9849B3C-AD4D-4890-A383-0DCC9E1F3D56}" dt="2022-03-02T10:36:52.738" v="159" actId="20577"/>
          <ac:graphicFrameMkLst>
            <pc:docMk/>
            <pc:sldMk cId="1242722526" sldId="1089"/>
            <ac:graphicFrameMk id="8" creationId="{975761D5-DFA6-4DCC-966B-BD7E3A573E0D}"/>
          </ac:graphicFrameMkLst>
        </pc:graphicFrameChg>
      </pc:sldChg>
      <pc:sldChg chg="modSp mod">
        <pc:chgData name="Jovana Mladenovic" userId="68ad3ef0-87b3-4eb8-b350-097587589b84" providerId="ADAL" clId="{D9849B3C-AD4D-4890-A383-0DCC9E1F3D56}" dt="2022-03-02T14:28:39.230" v="596" actId="27918"/>
        <pc:sldMkLst>
          <pc:docMk/>
          <pc:sldMk cId="179518184" sldId="1095"/>
        </pc:sldMkLst>
        <pc:graphicFrameChg chg="mod ord modGraphic">
          <ac:chgData name="Jovana Mladenovic" userId="68ad3ef0-87b3-4eb8-b350-097587589b84" providerId="ADAL" clId="{D9849B3C-AD4D-4890-A383-0DCC9E1F3D56}" dt="2022-03-02T14:27:51.852" v="586" actId="167"/>
          <ac:graphicFrameMkLst>
            <pc:docMk/>
            <pc:sldMk cId="179518184" sldId="1095"/>
            <ac:graphicFrameMk id="8" creationId="{975761D5-DFA6-4DCC-966B-BD7E3A573E0D}"/>
          </ac:graphicFrameMkLst>
        </pc:graphicFrameChg>
      </pc:sldChg>
      <pc:sldChg chg="modSp mod">
        <pc:chgData name="Jovana Mladenovic" userId="68ad3ef0-87b3-4eb8-b350-097587589b84" providerId="ADAL" clId="{D9849B3C-AD4D-4890-A383-0DCC9E1F3D56}" dt="2022-03-02T20:56:32.517" v="971" actId="20577"/>
        <pc:sldMkLst>
          <pc:docMk/>
          <pc:sldMk cId="3952489400" sldId="1098"/>
        </pc:sldMkLst>
        <pc:graphicFrameChg chg="mod modGraphic">
          <ac:chgData name="Jovana Mladenovic" userId="68ad3ef0-87b3-4eb8-b350-097587589b84" providerId="ADAL" clId="{D9849B3C-AD4D-4890-A383-0DCC9E1F3D56}" dt="2022-03-02T20:56:32.517" v="971" actId="20577"/>
          <ac:graphicFrameMkLst>
            <pc:docMk/>
            <pc:sldMk cId="3952489400" sldId="1098"/>
            <ac:graphicFrameMk id="8" creationId="{975761D5-DFA6-4DCC-966B-BD7E3A573E0D}"/>
          </ac:graphicFrameMkLst>
        </pc:graphicFrameChg>
      </pc:sldChg>
      <pc:sldChg chg="addSp delSp modSp mod">
        <pc:chgData name="Jovana Mladenovic" userId="68ad3ef0-87b3-4eb8-b350-097587589b84" providerId="ADAL" clId="{D9849B3C-AD4D-4890-A383-0DCC9E1F3D56}" dt="2022-03-02T20:58:16.367" v="977" actId="14100"/>
        <pc:sldMkLst>
          <pc:docMk/>
          <pc:sldMk cId="592512221" sldId="1099"/>
        </pc:sldMkLst>
        <pc:spChg chg="mod">
          <ac:chgData name="Jovana Mladenovic" userId="68ad3ef0-87b3-4eb8-b350-097587589b84" providerId="ADAL" clId="{D9849B3C-AD4D-4890-A383-0DCC9E1F3D56}" dt="2022-03-02T19:30:31.971" v="669" actId="1038"/>
          <ac:spMkLst>
            <pc:docMk/>
            <pc:sldMk cId="592512221" sldId="1099"/>
            <ac:spMk id="13" creationId="{A33F9945-5401-451A-8279-56C9261A85D5}"/>
          </ac:spMkLst>
        </pc:spChg>
        <pc:graphicFrameChg chg="mod">
          <ac:chgData name="Jovana Mladenovic" userId="68ad3ef0-87b3-4eb8-b350-097587589b84" providerId="ADAL" clId="{D9849B3C-AD4D-4890-A383-0DCC9E1F3D56}" dt="2022-03-02T20:58:05.996" v="975" actId="14100"/>
          <ac:graphicFrameMkLst>
            <pc:docMk/>
            <pc:sldMk cId="592512221" sldId="1099"/>
            <ac:graphicFrameMk id="6" creationId="{FA4AA757-2245-4D7E-9967-CB23D886516D}"/>
          </ac:graphicFrameMkLst>
        </pc:graphicFrameChg>
        <pc:graphicFrameChg chg="add del mod modGraphic">
          <ac:chgData name="Jovana Mladenovic" userId="68ad3ef0-87b3-4eb8-b350-097587589b84" providerId="ADAL" clId="{D9849B3C-AD4D-4890-A383-0DCC9E1F3D56}" dt="2022-03-02T20:57:23.150" v="973" actId="122"/>
          <ac:graphicFrameMkLst>
            <pc:docMk/>
            <pc:sldMk cId="592512221" sldId="1099"/>
            <ac:graphicFrameMk id="8" creationId="{975761D5-DFA6-4DCC-966B-BD7E3A573E0D}"/>
          </ac:graphicFrameMkLst>
        </pc:graphicFrameChg>
        <pc:graphicFrameChg chg="mod">
          <ac:chgData name="Jovana Mladenovic" userId="68ad3ef0-87b3-4eb8-b350-097587589b84" providerId="ADAL" clId="{D9849B3C-AD4D-4890-A383-0DCC9E1F3D56}" dt="2022-03-02T20:58:10.653" v="976" actId="14100"/>
          <ac:graphicFrameMkLst>
            <pc:docMk/>
            <pc:sldMk cId="592512221" sldId="1099"/>
            <ac:graphicFrameMk id="9" creationId="{3781C6FF-03C0-4664-8D70-76A31B0B2815}"/>
          </ac:graphicFrameMkLst>
        </pc:graphicFrameChg>
        <pc:graphicFrameChg chg="mod">
          <ac:chgData name="Jovana Mladenovic" userId="68ad3ef0-87b3-4eb8-b350-097587589b84" providerId="ADAL" clId="{D9849B3C-AD4D-4890-A383-0DCC9E1F3D56}" dt="2022-03-02T20:58:16.367" v="977" actId="14100"/>
          <ac:graphicFrameMkLst>
            <pc:docMk/>
            <pc:sldMk cId="592512221" sldId="1099"/>
            <ac:graphicFrameMk id="12" creationId="{F85A016E-91E4-4FA9-AC6E-4FF73820641B}"/>
          </ac:graphicFrameMkLst>
        </pc:graphicFrameChg>
        <pc:graphicFrameChg chg="add del mod ord">
          <ac:chgData name="Jovana Mladenovic" userId="68ad3ef0-87b3-4eb8-b350-097587589b84" providerId="ADAL" clId="{D9849B3C-AD4D-4890-A383-0DCC9E1F3D56}" dt="2022-03-02T19:30:03.115" v="655"/>
          <ac:graphicFrameMkLst>
            <pc:docMk/>
            <pc:sldMk cId="592512221" sldId="1099"/>
            <ac:graphicFrameMk id="19" creationId="{7D332540-7341-489C-B275-F128A1A72B1D}"/>
          </ac:graphicFrameMkLst>
        </pc:graphicFrameChg>
      </pc:sldChg>
      <pc:sldChg chg="modSp mod">
        <pc:chgData name="Jovana Mladenovic" userId="68ad3ef0-87b3-4eb8-b350-097587589b84" providerId="ADAL" clId="{D9849B3C-AD4D-4890-A383-0DCC9E1F3D56}" dt="2022-03-02T19:51:29.618" v="684" actId="122"/>
        <pc:sldMkLst>
          <pc:docMk/>
          <pc:sldMk cId="3330967287" sldId="1100"/>
        </pc:sldMkLst>
        <pc:graphicFrameChg chg="mod">
          <ac:chgData name="Jovana Mladenovic" userId="68ad3ef0-87b3-4eb8-b350-097587589b84" providerId="ADAL" clId="{D9849B3C-AD4D-4890-A383-0DCC9E1F3D56}" dt="2022-03-02T14:15:54.860" v="359" actId="555"/>
          <ac:graphicFrameMkLst>
            <pc:docMk/>
            <pc:sldMk cId="3330967287" sldId="1100"/>
            <ac:graphicFrameMk id="6" creationId="{FA4AA757-2245-4D7E-9967-CB23D886516D}"/>
          </ac:graphicFrameMkLst>
        </pc:graphicFrameChg>
        <pc:graphicFrameChg chg="mod modGraphic">
          <ac:chgData name="Jovana Mladenovic" userId="68ad3ef0-87b3-4eb8-b350-097587589b84" providerId="ADAL" clId="{D9849B3C-AD4D-4890-A383-0DCC9E1F3D56}" dt="2022-03-02T19:51:29.618" v="684" actId="122"/>
          <ac:graphicFrameMkLst>
            <pc:docMk/>
            <pc:sldMk cId="3330967287" sldId="1100"/>
            <ac:graphicFrameMk id="8" creationId="{975761D5-DFA6-4DCC-966B-BD7E3A573E0D}"/>
          </ac:graphicFrameMkLst>
        </pc:graphicFrameChg>
        <pc:graphicFrameChg chg="mod">
          <ac:chgData name="Jovana Mladenovic" userId="68ad3ef0-87b3-4eb8-b350-097587589b84" providerId="ADAL" clId="{D9849B3C-AD4D-4890-A383-0DCC9E1F3D56}" dt="2022-03-02T14:15:54.860" v="359" actId="555"/>
          <ac:graphicFrameMkLst>
            <pc:docMk/>
            <pc:sldMk cId="3330967287" sldId="1100"/>
            <ac:graphicFrameMk id="9" creationId="{3781C6FF-03C0-4664-8D70-76A31B0B2815}"/>
          </ac:graphicFrameMkLst>
        </pc:graphicFrameChg>
        <pc:graphicFrameChg chg="mod">
          <ac:chgData name="Jovana Mladenovic" userId="68ad3ef0-87b3-4eb8-b350-097587589b84" providerId="ADAL" clId="{D9849B3C-AD4D-4890-A383-0DCC9E1F3D56}" dt="2022-03-02T14:16:05.563" v="360" actId="14100"/>
          <ac:graphicFrameMkLst>
            <pc:docMk/>
            <pc:sldMk cId="3330967287" sldId="1100"/>
            <ac:graphicFrameMk id="12" creationId="{F85A016E-91E4-4FA9-AC6E-4FF73820641B}"/>
          </ac:graphicFrameMkLst>
        </pc:graphicFrameChg>
      </pc:sldChg>
      <pc:sldChg chg="mod">
        <pc:chgData name="Jovana Mladenovic" userId="68ad3ef0-87b3-4eb8-b350-097587589b84" providerId="ADAL" clId="{D9849B3C-AD4D-4890-A383-0DCC9E1F3D56}" dt="2022-03-02T13:18:57.131" v="205" actId="27918"/>
        <pc:sldMkLst>
          <pc:docMk/>
          <pc:sldMk cId="2144003466" sldId="1101"/>
        </pc:sldMkLst>
      </pc:sldChg>
    </pc:docChg>
  </pc:docChgLst>
  <pc:docChgLst>
    <pc:chgData name="Jovana Mladenovic" userId="68ad3ef0-87b3-4eb8-b350-097587589b84" providerId="ADAL" clId="{62271528-139A-4D48-A330-4A93E5EFF3BD}"/>
    <pc:docChg chg="undo custSel modSld">
      <pc:chgData name="Jovana Mladenovic" userId="68ad3ef0-87b3-4eb8-b350-097587589b84" providerId="ADAL" clId="{62271528-139A-4D48-A330-4A93E5EFF3BD}" dt="2022-04-06T08:40:07.345" v="771" actId="20577"/>
      <pc:docMkLst>
        <pc:docMk/>
      </pc:docMkLst>
      <pc:sldChg chg="modSp mod">
        <pc:chgData name="Jovana Mladenovic" userId="68ad3ef0-87b3-4eb8-b350-097587589b84" providerId="ADAL" clId="{62271528-139A-4D48-A330-4A93E5EFF3BD}" dt="2022-04-01T13:06:14.040" v="52" actId="20577"/>
        <pc:sldMkLst>
          <pc:docMk/>
          <pc:sldMk cId="4040105006" sldId="1069"/>
        </pc:sldMkLst>
        <pc:spChg chg="mod">
          <ac:chgData name="Jovana Mladenovic" userId="68ad3ef0-87b3-4eb8-b350-097587589b84" providerId="ADAL" clId="{62271528-139A-4D48-A330-4A93E5EFF3BD}" dt="2022-04-01T13:06:14.040" v="52" actId="20577"/>
          <ac:spMkLst>
            <pc:docMk/>
            <pc:sldMk cId="4040105006" sldId="1069"/>
            <ac:spMk id="3" creationId="{7B20ADE1-C66E-4679-9F31-35EB2AD5C90A}"/>
          </ac:spMkLst>
        </pc:spChg>
      </pc:sldChg>
      <pc:sldChg chg="modSp mod">
        <pc:chgData name="Jovana Mladenovic" userId="68ad3ef0-87b3-4eb8-b350-097587589b84" providerId="ADAL" clId="{62271528-139A-4D48-A330-4A93E5EFF3BD}" dt="2022-04-06T06:32:34.202" v="109" actId="27918"/>
        <pc:sldMkLst>
          <pc:docMk/>
          <pc:sldMk cId="282713152" sldId="1081"/>
        </pc:sldMkLst>
        <pc:spChg chg="mod">
          <ac:chgData name="Jovana Mladenovic" userId="68ad3ef0-87b3-4eb8-b350-097587589b84" providerId="ADAL" clId="{62271528-139A-4D48-A330-4A93E5EFF3BD}" dt="2022-04-01T13:06:22.297" v="58" actId="20577"/>
          <ac:spMkLst>
            <pc:docMk/>
            <pc:sldMk cId="282713152" sldId="1081"/>
            <ac:spMk id="18" creationId="{0F99F297-BDA2-43C9-9B22-D6A587715DE1}"/>
          </ac:spMkLst>
        </pc:spChg>
        <pc:graphicFrameChg chg="mod modGraphic">
          <ac:chgData name="Jovana Mladenovic" userId="68ad3ef0-87b3-4eb8-b350-097587589b84" providerId="ADAL" clId="{62271528-139A-4D48-A330-4A93E5EFF3BD}" dt="2022-04-06T06:31:14.832" v="93" actId="15"/>
          <ac:graphicFrameMkLst>
            <pc:docMk/>
            <pc:sldMk cId="282713152" sldId="1081"/>
            <ac:graphicFrameMk id="8" creationId="{975761D5-DFA6-4DCC-966B-BD7E3A573E0D}"/>
          </ac:graphicFrameMkLst>
        </pc:graphicFrameChg>
      </pc:sldChg>
      <pc:sldChg chg="modSp mod">
        <pc:chgData name="Jovana Mladenovic" userId="68ad3ef0-87b3-4eb8-b350-097587589b84" providerId="ADAL" clId="{62271528-139A-4D48-A330-4A93E5EFF3BD}" dt="2022-04-06T08:39:58.157" v="765" actId="20577"/>
        <pc:sldMkLst>
          <pc:docMk/>
          <pc:sldMk cId="3764823436" sldId="1084"/>
        </pc:sldMkLst>
        <pc:spChg chg="mod">
          <ac:chgData name="Jovana Mladenovic" userId="68ad3ef0-87b3-4eb8-b350-097587589b84" providerId="ADAL" clId="{62271528-139A-4D48-A330-4A93E5EFF3BD}" dt="2022-04-06T08:39:58.157" v="765" actId="20577"/>
          <ac:spMkLst>
            <pc:docMk/>
            <pc:sldMk cId="3764823436" sldId="1084"/>
            <ac:spMk id="17" creationId="{ADC961B4-B59A-4836-812F-EF8E26AC2889}"/>
          </ac:spMkLst>
        </pc:spChg>
        <pc:spChg chg="mod">
          <ac:chgData name="Jovana Mladenovic" userId="68ad3ef0-87b3-4eb8-b350-097587589b84" providerId="ADAL" clId="{62271528-139A-4D48-A330-4A93E5EFF3BD}" dt="2022-04-06T08:39:28.876" v="759" actId="1038"/>
          <ac:spMkLst>
            <pc:docMk/>
            <pc:sldMk cId="3764823436" sldId="1084"/>
            <ac:spMk id="18" creationId="{91B7353B-9BA3-408D-A9D5-9D970B69D8E8}"/>
          </ac:spMkLst>
        </pc:spChg>
        <pc:spChg chg="mod">
          <ac:chgData name="Jovana Mladenovic" userId="68ad3ef0-87b3-4eb8-b350-097587589b84" providerId="ADAL" clId="{62271528-139A-4D48-A330-4A93E5EFF3BD}" dt="2022-04-06T08:39:28.876" v="759" actId="1038"/>
          <ac:spMkLst>
            <pc:docMk/>
            <pc:sldMk cId="3764823436" sldId="1084"/>
            <ac:spMk id="19" creationId="{97D00EDC-9529-40CD-B57A-333BDB211856}"/>
          </ac:spMkLst>
        </pc:spChg>
        <pc:spChg chg="mod">
          <ac:chgData name="Jovana Mladenovic" userId="68ad3ef0-87b3-4eb8-b350-097587589b84" providerId="ADAL" clId="{62271528-139A-4D48-A330-4A93E5EFF3BD}" dt="2022-04-06T08:39:28.876" v="759" actId="1038"/>
          <ac:spMkLst>
            <pc:docMk/>
            <pc:sldMk cId="3764823436" sldId="1084"/>
            <ac:spMk id="20" creationId="{9F9B83CD-360B-4E9E-ADBA-8F461E4C5C59}"/>
          </ac:spMkLst>
        </pc:spChg>
        <pc:graphicFrameChg chg="mod">
          <ac:chgData name="Jovana Mladenovic" userId="68ad3ef0-87b3-4eb8-b350-097587589b84" providerId="ADAL" clId="{62271528-139A-4D48-A330-4A93E5EFF3BD}" dt="2022-04-06T08:38:54.049" v="752" actId="1036"/>
          <ac:graphicFrameMkLst>
            <pc:docMk/>
            <pc:sldMk cId="3764823436" sldId="1084"/>
            <ac:graphicFrameMk id="6" creationId="{FA4AA757-2245-4D7E-9967-CB23D886516D}"/>
          </ac:graphicFrameMkLst>
        </pc:graphicFrameChg>
        <pc:graphicFrameChg chg="mod modGraphic">
          <ac:chgData name="Jovana Mladenovic" userId="68ad3ef0-87b3-4eb8-b350-097587589b84" providerId="ADAL" clId="{62271528-139A-4D48-A330-4A93E5EFF3BD}" dt="2022-04-06T08:38:54.049" v="752" actId="1036"/>
          <ac:graphicFrameMkLst>
            <pc:docMk/>
            <pc:sldMk cId="3764823436" sldId="1084"/>
            <ac:graphicFrameMk id="8" creationId="{975761D5-DFA6-4DCC-966B-BD7E3A573E0D}"/>
          </ac:graphicFrameMkLst>
        </pc:graphicFrameChg>
        <pc:graphicFrameChg chg="mod">
          <ac:chgData name="Jovana Mladenovic" userId="68ad3ef0-87b3-4eb8-b350-097587589b84" providerId="ADAL" clId="{62271528-139A-4D48-A330-4A93E5EFF3BD}" dt="2022-04-06T08:38:54.049" v="752" actId="1036"/>
          <ac:graphicFrameMkLst>
            <pc:docMk/>
            <pc:sldMk cId="3764823436" sldId="1084"/>
            <ac:graphicFrameMk id="9" creationId="{3781C6FF-03C0-4664-8D70-76A31B0B2815}"/>
          </ac:graphicFrameMkLst>
        </pc:graphicFrameChg>
        <pc:graphicFrameChg chg="mod">
          <ac:chgData name="Jovana Mladenovic" userId="68ad3ef0-87b3-4eb8-b350-097587589b84" providerId="ADAL" clId="{62271528-139A-4D48-A330-4A93E5EFF3BD}" dt="2022-04-06T08:38:54.049" v="752" actId="1036"/>
          <ac:graphicFrameMkLst>
            <pc:docMk/>
            <pc:sldMk cId="3764823436" sldId="1084"/>
            <ac:graphicFrameMk id="12" creationId="{F85A016E-91E4-4FA9-AC6E-4FF73820641B}"/>
          </ac:graphicFrameMkLst>
        </pc:graphicFrameChg>
      </pc:sldChg>
      <pc:sldChg chg="modSp mod">
        <pc:chgData name="Jovana Mladenovic" userId="68ad3ef0-87b3-4eb8-b350-097587589b84" providerId="ADAL" clId="{62271528-139A-4D48-A330-4A93E5EFF3BD}" dt="2022-04-06T08:40:07.345" v="771" actId="20577"/>
        <pc:sldMkLst>
          <pc:docMk/>
          <pc:sldMk cId="2061379642" sldId="1085"/>
        </pc:sldMkLst>
        <pc:spChg chg="mod">
          <ac:chgData name="Jovana Mladenovic" userId="68ad3ef0-87b3-4eb8-b350-097587589b84" providerId="ADAL" clId="{62271528-139A-4D48-A330-4A93E5EFF3BD}" dt="2022-04-06T08:39:16.728" v="757" actId="1035"/>
          <ac:spMkLst>
            <pc:docMk/>
            <pc:sldMk cId="2061379642" sldId="1085"/>
            <ac:spMk id="13" creationId="{A33F9945-5401-451A-8279-56C9261A85D5}"/>
          </ac:spMkLst>
        </pc:spChg>
        <pc:spChg chg="mod">
          <ac:chgData name="Jovana Mladenovic" userId="68ad3ef0-87b3-4eb8-b350-097587589b84" providerId="ADAL" clId="{62271528-139A-4D48-A330-4A93E5EFF3BD}" dt="2022-04-06T08:39:16.728" v="757" actId="1035"/>
          <ac:spMkLst>
            <pc:docMk/>
            <pc:sldMk cId="2061379642" sldId="1085"/>
            <ac:spMk id="14" creationId="{E3A0728E-4D9A-468D-8867-1ACD748C4B75}"/>
          </ac:spMkLst>
        </pc:spChg>
        <pc:spChg chg="mod">
          <ac:chgData name="Jovana Mladenovic" userId="68ad3ef0-87b3-4eb8-b350-097587589b84" providerId="ADAL" clId="{62271528-139A-4D48-A330-4A93E5EFF3BD}" dt="2022-04-06T08:39:16.728" v="757" actId="1035"/>
          <ac:spMkLst>
            <pc:docMk/>
            <pc:sldMk cId="2061379642" sldId="1085"/>
            <ac:spMk id="15" creationId="{E3F18D2B-8E66-4096-8FD4-52096F8B0DF1}"/>
          </ac:spMkLst>
        </pc:spChg>
        <pc:spChg chg="mod">
          <ac:chgData name="Jovana Mladenovic" userId="68ad3ef0-87b3-4eb8-b350-097587589b84" providerId="ADAL" clId="{62271528-139A-4D48-A330-4A93E5EFF3BD}" dt="2022-04-06T08:40:07.345" v="771" actId="20577"/>
          <ac:spMkLst>
            <pc:docMk/>
            <pc:sldMk cId="2061379642" sldId="1085"/>
            <ac:spMk id="18" creationId="{0F99F297-BDA2-43C9-9B22-D6A587715DE1}"/>
          </ac:spMkLst>
        </pc:spChg>
        <pc:graphicFrameChg chg="mod modGraphic">
          <ac:chgData name="Jovana Mladenovic" userId="68ad3ef0-87b3-4eb8-b350-097587589b84" providerId="ADAL" clId="{62271528-139A-4D48-A330-4A93E5EFF3BD}" dt="2022-04-06T08:22:01.437" v="693" actId="15"/>
          <ac:graphicFrameMkLst>
            <pc:docMk/>
            <pc:sldMk cId="2061379642" sldId="1085"/>
            <ac:graphicFrameMk id="8" creationId="{975761D5-DFA6-4DCC-966B-BD7E3A573E0D}"/>
          </ac:graphicFrameMkLst>
        </pc:graphicFrameChg>
      </pc:sldChg>
      <pc:sldChg chg="modSp mod">
        <pc:chgData name="Jovana Mladenovic" userId="68ad3ef0-87b3-4eb8-b350-097587589b84" providerId="ADAL" clId="{62271528-139A-4D48-A330-4A93E5EFF3BD}" dt="2022-04-06T06:31:01.826" v="90"/>
        <pc:sldMkLst>
          <pc:docMk/>
          <pc:sldMk cId="1242722526" sldId="1089"/>
        </pc:sldMkLst>
        <pc:spChg chg="mod">
          <ac:chgData name="Jovana Mladenovic" userId="68ad3ef0-87b3-4eb8-b350-097587589b84" providerId="ADAL" clId="{62271528-139A-4D48-A330-4A93E5EFF3BD}" dt="2022-04-01T13:03:25.088" v="39" actId="20577"/>
          <ac:spMkLst>
            <pc:docMk/>
            <pc:sldMk cId="1242722526" sldId="1089"/>
            <ac:spMk id="17" creationId="{ADC961B4-B59A-4836-812F-EF8E26AC2889}"/>
          </ac:spMkLst>
        </pc:spChg>
        <pc:graphicFrameChg chg="mod ord modGraphic">
          <ac:chgData name="Jovana Mladenovic" userId="68ad3ef0-87b3-4eb8-b350-097587589b84" providerId="ADAL" clId="{62271528-139A-4D48-A330-4A93E5EFF3BD}" dt="2022-04-06T06:31:01.826" v="90"/>
          <ac:graphicFrameMkLst>
            <pc:docMk/>
            <pc:sldMk cId="1242722526" sldId="1089"/>
            <ac:graphicFrameMk id="8" creationId="{975761D5-DFA6-4DCC-966B-BD7E3A573E0D}"/>
          </ac:graphicFrameMkLst>
        </pc:graphicFrameChg>
      </pc:sldChg>
      <pc:sldChg chg="modSp mod">
        <pc:chgData name="Jovana Mladenovic" userId="68ad3ef0-87b3-4eb8-b350-097587589b84" providerId="ADAL" clId="{62271528-139A-4D48-A330-4A93E5EFF3BD}" dt="2022-04-06T07:06:15.288" v="395"/>
        <pc:sldMkLst>
          <pc:docMk/>
          <pc:sldMk cId="179518184" sldId="1095"/>
        </pc:sldMkLst>
        <pc:graphicFrameChg chg="mod modGraphic">
          <ac:chgData name="Jovana Mladenovic" userId="68ad3ef0-87b3-4eb8-b350-097587589b84" providerId="ADAL" clId="{62271528-139A-4D48-A330-4A93E5EFF3BD}" dt="2022-04-06T07:06:15.288" v="395"/>
          <ac:graphicFrameMkLst>
            <pc:docMk/>
            <pc:sldMk cId="179518184" sldId="1095"/>
            <ac:graphicFrameMk id="8" creationId="{975761D5-DFA6-4DCC-966B-BD7E3A573E0D}"/>
          </ac:graphicFrameMkLst>
        </pc:graphicFrameChg>
      </pc:sldChg>
      <pc:sldChg chg="modSp mod">
        <pc:chgData name="Jovana Mladenovic" userId="68ad3ef0-87b3-4eb8-b350-097587589b84" providerId="ADAL" clId="{62271528-139A-4D48-A330-4A93E5EFF3BD}" dt="2022-04-06T07:48:17.507" v="560" actId="27918"/>
        <pc:sldMkLst>
          <pc:docMk/>
          <pc:sldMk cId="3952489400" sldId="1098"/>
        </pc:sldMkLst>
        <pc:graphicFrameChg chg="mod modGraphic">
          <ac:chgData name="Jovana Mladenovic" userId="68ad3ef0-87b3-4eb8-b350-097587589b84" providerId="ADAL" clId="{62271528-139A-4D48-A330-4A93E5EFF3BD}" dt="2022-04-06T07:46:48.946" v="544" actId="6549"/>
          <ac:graphicFrameMkLst>
            <pc:docMk/>
            <pc:sldMk cId="3952489400" sldId="1098"/>
            <ac:graphicFrameMk id="8" creationId="{975761D5-DFA6-4DCC-966B-BD7E3A573E0D}"/>
          </ac:graphicFrameMkLst>
        </pc:graphicFrameChg>
      </pc:sldChg>
      <pc:sldChg chg="modSp mod">
        <pc:chgData name="Jovana Mladenovic" userId="68ad3ef0-87b3-4eb8-b350-097587589b84" providerId="ADAL" clId="{62271528-139A-4D48-A330-4A93E5EFF3BD}" dt="2022-04-06T08:16:14.304" v="683" actId="27918"/>
        <pc:sldMkLst>
          <pc:docMk/>
          <pc:sldMk cId="592512221" sldId="1099"/>
        </pc:sldMkLst>
        <pc:graphicFrameChg chg="mod modGraphic">
          <ac:chgData name="Jovana Mladenovic" userId="68ad3ef0-87b3-4eb8-b350-097587589b84" providerId="ADAL" clId="{62271528-139A-4D48-A330-4A93E5EFF3BD}" dt="2022-04-06T08:15:04.822" v="670" actId="6549"/>
          <ac:graphicFrameMkLst>
            <pc:docMk/>
            <pc:sldMk cId="592512221" sldId="1099"/>
            <ac:graphicFrameMk id="8" creationId="{975761D5-DFA6-4DCC-966B-BD7E3A573E0D}"/>
          </ac:graphicFrameMkLst>
        </pc:graphicFrameChg>
      </pc:sldChg>
      <pc:sldChg chg="modSp mod">
        <pc:chgData name="Jovana Mladenovic" userId="68ad3ef0-87b3-4eb8-b350-097587589b84" providerId="ADAL" clId="{62271528-139A-4D48-A330-4A93E5EFF3BD}" dt="2022-04-06T06:57:08.279" v="245" actId="122"/>
        <pc:sldMkLst>
          <pc:docMk/>
          <pc:sldMk cId="3330967287" sldId="1100"/>
        </pc:sldMkLst>
        <pc:graphicFrameChg chg="mod modGraphic">
          <ac:chgData name="Jovana Mladenovic" userId="68ad3ef0-87b3-4eb8-b350-097587589b84" providerId="ADAL" clId="{62271528-139A-4D48-A330-4A93E5EFF3BD}" dt="2022-04-06T06:57:08.279" v="245" actId="122"/>
          <ac:graphicFrameMkLst>
            <pc:docMk/>
            <pc:sldMk cId="3330967287" sldId="1100"/>
            <ac:graphicFrameMk id="8" creationId="{975761D5-DFA6-4DCC-966B-BD7E3A573E0D}"/>
          </ac:graphicFrameMkLst>
        </pc:graphicFrameChg>
      </pc:sldChg>
      <pc:sldChg chg="modSp mod">
        <pc:chgData name="Jovana Mladenovic" userId="68ad3ef0-87b3-4eb8-b350-097587589b84" providerId="ADAL" clId="{62271528-139A-4D48-A330-4A93E5EFF3BD}" dt="2022-04-06T08:36:13.917" v="740" actId="20577"/>
        <pc:sldMkLst>
          <pc:docMk/>
          <pc:sldMk cId="2144003466" sldId="1101"/>
        </pc:sldMkLst>
        <pc:spChg chg="mod">
          <ac:chgData name="Jovana Mladenovic" userId="68ad3ef0-87b3-4eb8-b350-097587589b84" providerId="ADAL" clId="{62271528-139A-4D48-A330-4A93E5EFF3BD}" dt="2022-04-06T08:36:13.917" v="740" actId="20577"/>
          <ac:spMkLst>
            <pc:docMk/>
            <pc:sldMk cId="2144003466" sldId="1101"/>
            <ac:spMk id="18" creationId="{0F99F297-BDA2-43C9-9B22-D6A587715DE1}"/>
          </ac:spMkLst>
        </pc:spChg>
      </pc:sldChg>
    </pc:docChg>
  </pc:docChgLst>
  <pc:docChgLst>
    <pc:chgData name="Jovana Mladenovic" userId="68ad3ef0-87b3-4eb8-b350-097587589b84" providerId="ADAL" clId="{1B385456-0162-4B03-BE16-44EDD14BB45D}"/>
    <pc:docChg chg="undo redo custSel modSld">
      <pc:chgData name="Jovana Mladenovic" userId="68ad3ef0-87b3-4eb8-b350-097587589b84" providerId="ADAL" clId="{1B385456-0162-4B03-BE16-44EDD14BB45D}" dt="2022-05-05T07:43:14.352" v="1416" actId="1035"/>
      <pc:docMkLst>
        <pc:docMk/>
      </pc:docMkLst>
      <pc:sldChg chg="modSp mod">
        <pc:chgData name="Jovana Mladenovic" userId="68ad3ef0-87b3-4eb8-b350-097587589b84" providerId="ADAL" clId="{1B385456-0162-4B03-BE16-44EDD14BB45D}" dt="2022-05-03T06:32:43.643" v="6" actId="20577"/>
        <pc:sldMkLst>
          <pc:docMk/>
          <pc:sldMk cId="4040105006" sldId="1069"/>
        </pc:sldMkLst>
        <pc:spChg chg="mod">
          <ac:chgData name="Jovana Mladenovic" userId="68ad3ef0-87b3-4eb8-b350-097587589b84" providerId="ADAL" clId="{1B385456-0162-4B03-BE16-44EDD14BB45D}" dt="2022-05-03T06:32:43.643" v="6" actId="20577"/>
          <ac:spMkLst>
            <pc:docMk/>
            <pc:sldMk cId="4040105006" sldId="1069"/>
            <ac:spMk id="3" creationId="{7B20ADE1-C66E-4679-9F31-35EB2AD5C90A}"/>
          </ac:spMkLst>
        </pc:spChg>
      </pc:sldChg>
      <pc:sldChg chg="addSp modSp mod">
        <pc:chgData name="Jovana Mladenovic" userId="68ad3ef0-87b3-4eb8-b350-097587589b84" providerId="ADAL" clId="{1B385456-0162-4B03-BE16-44EDD14BB45D}" dt="2022-05-04T10:48:39.115" v="810" actId="27918"/>
        <pc:sldMkLst>
          <pc:docMk/>
          <pc:sldMk cId="282713152" sldId="1081"/>
        </pc:sldMkLst>
        <pc:spChg chg="mod">
          <ac:chgData name="Jovana Mladenovic" userId="68ad3ef0-87b3-4eb8-b350-097587589b84" providerId="ADAL" clId="{1B385456-0162-4B03-BE16-44EDD14BB45D}" dt="2022-05-04T10:31:58.959" v="806" actId="1038"/>
          <ac:spMkLst>
            <pc:docMk/>
            <pc:sldMk cId="282713152" sldId="1081"/>
            <ac:spMk id="13" creationId="{A33F9945-5401-451A-8279-56C9261A85D5}"/>
          </ac:spMkLst>
        </pc:spChg>
        <pc:spChg chg="mod">
          <ac:chgData name="Jovana Mladenovic" userId="68ad3ef0-87b3-4eb8-b350-097587589b84" providerId="ADAL" clId="{1B385456-0162-4B03-BE16-44EDD14BB45D}" dt="2022-05-04T10:31:58.959" v="806" actId="1038"/>
          <ac:spMkLst>
            <pc:docMk/>
            <pc:sldMk cId="282713152" sldId="1081"/>
            <ac:spMk id="14" creationId="{E3A0728E-4D9A-468D-8867-1ACD748C4B75}"/>
          </ac:spMkLst>
        </pc:spChg>
        <pc:spChg chg="mod">
          <ac:chgData name="Jovana Mladenovic" userId="68ad3ef0-87b3-4eb8-b350-097587589b84" providerId="ADAL" clId="{1B385456-0162-4B03-BE16-44EDD14BB45D}" dt="2022-05-04T10:31:58.959" v="806" actId="1038"/>
          <ac:spMkLst>
            <pc:docMk/>
            <pc:sldMk cId="282713152" sldId="1081"/>
            <ac:spMk id="15" creationId="{E3F18D2B-8E66-4096-8FD4-52096F8B0DF1}"/>
          </ac:spMkLst>
        </pc:spChg>
        <pc:spChg chg="mod">
          <ac:chgData name="Jovana Mladenovic" userId="68ad3ef0-87b3-4eb8-b350-097587589b84" providerId="ADAL" clId="{1B385456-0162-4B03-BE16-44EDD14BB45D}" dt="2022-05-04T10:31:58.959" v="806" actId="1038"/>
          <ac:spMkLst>
            <pc:docMk/>
            <pc:sldMk cId="282713152" sldId="1081"/>
            <ac:spMk id="18" creationId="{0F99F297-BDA2-43C9-9B22-D6A587715DE1}"/>
          </ac:spMkLst>
        </pc:spChg>
        <pc:spChg chg="add mod">
          <ac:chgData name="Jovana Mladenovic" userId="68ad3ef0-87b3-4eb8-b350-097587589b84" providerId="ADAL" clId="{1B385456-0162-4B03-BE16-44EDD14BB45D}" dt="2022-05-04T10:30:41.235" v="799" actId="571"/>
          <ac:spMkLst>
            <pc:docMk/>
            <pc:sldMk cId="282713152" sldId="1081"/>
            <ac:spMk id="20" creationId="{3F60CA0E-C21D-407B-81B6-EF4893901C47}"/>
          </ac:spMkLst>
        </pc:spChg>
        <pc:spChg chg="add mod">
          <ac:chgData name="Jovana Mladenovic" userId="68ad3ef0-87b3-4eb8-b350-097587589b84" providerId="ADAL" clId="{1B385456-0162-4B03-BE16-44EDD14BB45D}" dt="2022-05-04T10:30:41.235" v="799" actId="571"/>
          <ac:spMkLst>
            <pc:docMk/>
            <pc:sldMk cId="282713152" sldId="1081"/>
            <ac:spMk id="21" creationId="{0E655F89-D3FF-4F7B-918C-629E0D36C0B1}"/>
          </ac:spMkLst>
        </pc:spChg>
        <pc:spChg chg="add mod">
          <ac:chgData name="Jovana Mladenovic" userId="68ad3ef0-87b3-4eb8-b350-097587589b84" providerId="ADAL" clId="{1B385456-0162-4B03-BE16-44EDD14BB45D}" dt="2022-05-04T10:30:41.235" v="799" actId="571"/>
          <ac:spMkLst>
            <pc:docMk/>
            <pc:sldMk cId="282713152" sldId="1081"/>
            <ac:spMk id="22" creationId="{3CA6E6B5-5A4F-4C02-A70C-BED77B686327}"/>
          </ac:spMkLst>
        </pc:spChg>
        <pc:graphicFrameChg chg="mod">
          <ac:chgData name="Jovana Mladenovic" userId="68ad3ef0-87b3-4eb8-b350-097587589b84" providerId="ADAL" clId="{1B385456-0162-4B03-BE16-44EDD14BB45D}" dt="2022-05-04T10:30:45.244" v="800" actId="1037"/>
          <ac:graphicFrameMkLst>
            <pc:docMk/>
            <pc:sldMk cId="282713152" sldId="1081"/>
            <ac:graphicFrameMk id="6" creationId="{FA4AA757-2245-4D7E-9967-CB23D886516D}"/>
          </ac:graphicFrameMkLst>
        </pc:graphicFrameChg>
        <pc:graphicFrameChg chg="mod ord modGraphic">
          <ac:chgData name="Jovana Mladenovic" userId="68ad3ef0-87b3-4eb8-b350-097587589b84" providerId="ADAL" clId="{1B385456-0162-4B03-BE16-44EDD14BB45D}" dt="2022-05-04T10:30:45.244" v="800" actId="1037"/>
          <ac:graphicFrameMkLst>
            <pc:docMk/>
            <pc:sldMk cId="282713152" sldId="1081"/>
            <ac:graphicFrameMk id="8" creationId="{975761D5-DFA6-4DCC-966B-BD7E3A573E0D}"/>
          </ac:graphicFrameMkLst>
        </pc:graphicFrameChg>
        <pc:graphicFrameChg chg="mod">
          <ac:chgData name="Jovana Mladenovic" userId="68ad3ef0-87b3-4eb8-b350-097587589b84" providerId="ADAL" clId="{1B385456-0162-4B03-BE16-44EDD14BB45D}" dt="2022-05-04T10:30:45.244" v="800" actId="1037"/>
          <ac:graphicFrameMkLst>
            <pc:docMk/>
            <pc:sldMk cId="282713152" sldId="1081"/>
            <ac:graphicFrameMk id="9" creationId="{3781C6FF-03C0-4664-8D70-76A31B0B2815}"/>
          </ac:graphicFrameMkLst>
        </pc:graphicFrameChg>
        <pc:graphicFrameChg chg="mod">
          <ac:chgData name="Jovana Mladenovic" userId="68ad3ef0-87b3-4eb8-b350-097587589b84" providerId="ADAL" clId="{1B385456-0162-4B03-BE16-44EDD14BB45D}" dt="2022-05-04T10:30:45.244" v="800" actId="1037"/>
          <ac:graphicFrameMkLst>
            <pc:docMk/>
            <pc:sldMk cId="282713152" sldId="1081"/>
            <ac:graphicFrameMk id="12" creationId="{F85A016E-91E4-4FA9-AC6E-4FF73820641B}"/>
          </ac:graphicFrameMkLst>
        </pc:graphicFrameChg>
        <pc:graphicFrameChg chg="add mod">
          <ac:chgData name="Jovana Mladenovic" userId="68ad3ef0-87b3-4eb8-b350-097587589b84" providerId="ADAL" clId="{1B385456-0162-4B03-BE16-44EDD14BB45D}" dt="2022-05-04T10:30:41.235" v="799" actId="571"/>
          <ac:graphicFrameMkLst>
            <pc:docMk/>
            <pc:sldMk cId="282713152" sldId="1081"/>
            <ac:graphicFrameMk id="16" creationId="{647AACF3-4037-4FB5-8F1F-71E6E2A96B3F}"/>
          </ac:graphicFrameMkLst>
        </pc:graphicFrameChg>
        <pc:graphicFrameChg chg="add mod">
          <ac:chgData name="Jovana Mladenovic" userId="68ad3ef0-87b3-4eb8-b350-097587589b84" providerId="ADAL" clId="{1B385456-0162-4B03-BE16-44EDD14BB45D}" dt="2022-05-04T10:30:41.235" v="799" actId="571"/>
          <ac:graphicFrameMkLst>
            <pc:docMk/>
            <pc:sldMk cId="282713152" sldId="1081"/>
            <ac:graphicFrameMk id="17" creationId="{F5850468-73EE-4DED-B7EF-E297F05F59D3}"/>
          </ac:graphicFrameMkLst>
        </pc:graphicFrameChg>
        <pc:graphicFrameChg chg="add mod">
          <ac:chgData name="Jovana Mladenovic" userId="68ad3ef0-87b3-4eb8-b350-097587589b84" providerId="ADAL" clId="{1B385456-0162-4B03-BE16-44EDD14BB45D}" dt="2022-05-04T10:30:41.235" v="799" actId="571"/>
          <ac:graphicFrameMkLst>
            <pc:docMk/>
            <pc:sldMk cId="282713152" sldId="1081"/>
            <ac:graphicFrameMk id="19" creationId="{41318728-5E13-4B10-82AB-02D207F6155C}"/>
          </ac:graphicFrameMkLst>
        </pc:graphicFrameChg>
      </pc:sldChg>
      <pc:sldChg chg="modSp mod">
        <pc:chgData name="Jovana Mladenovic" userId="68ad3ef0-87b3-4eb8-b350-097587589b84" providerId="ADAL" clId="{1B385456-0162-4B03-BE16-44EDD14BB45D}" dt="2022-05-04T13:25:04.284" v="812" actId="27918"/>
        <pc:sldMkLst>
          <pc:docMk/>
          <pc:sldMk cId="3764823436" sldId="1084"/>
        </pc:sldMkLst>
        <pc:spChg chg="mod">
          <ac:chgData name="Jovana Mladenovic" userId="68ad3ef0-87b3-4eb8-b350-097587589b84" providerId="ADAL" clId="{1B385456-0162-4B03-BE16-44EDD14BB45D}" dt="2022-05-03T06:33:35.708" v="15"/>
          <ac:spMkLst>
            <pc:docMk/>
            <pc:sldMk cId="3764823436" sldId="1084"/>
            <ac:spMk id="17" creationId="{ADC961B4-B59A-4836-812F-EF8E26AC2889}"/>
          </ac:spMkLst>
        </pc:spChg>
        <pc:graphicFrameChg chg="mod modGraphic">
          <ac:chgData name="Jovana Mladenovic" userId="68ad3ef0-87b3-4eb8-b350-097587589b84" providerId="ADAL" clId="{1B385456-0162-4B03-BE16-44EDD14BB45D}" dt="2022-05-04T10:16:35.074" v="722"/>
          <ac:graphicFrameMkLst>
            <pc:docMk/>
            <pc:sldMk cId="3764823436" sldId="1084"/>
            <ac:graphicFrameMk id="8" creationId="{975761D5-DFA6-4DCC-966B-BD7E3A573E0D}"/>
          </ac:graphicFrameMkLst>
        </pc:graphicFrameChg>
      </pc:sldChg>
      <pc:sldChg chg="modSp mod">
        <pc:chgData name="Jovana Mladenovic" userId="68ad3ef0-87b3-4eb8-b350-097587589b84" providerId="ADAL" clId="{1B385456-0162-4B03-BE16-44EDD14BB45D}" dt="2022-05-04T10:26:49.985" v="750" actId="1038"/>
        <pc:sldMkLst>
          <pc:docMk/>
          <pc:sldMk cId="2061379642" sldId="1085"/>
        </pc:sldMkLst>
        <pc:spChg chg="mod">
          <ac:chgData name="Jovana Mladenovic" userId="68ad3ef0-87b3-4eb8-b350-097587589b84" providerId="ADAL" clId="{1B385456-0162-4B03-BE16-44EDD14BB45D}" dt="2022-05-04T10:26:49.985" v="750" actId="1038"/>
          <ac:spMkLst>
            <pc:docMk/>
            <pc:sldMk cId="2061379642" sldId="1085"/>
            <ac:spMk id="13" creationId="{A33F9945-5401-451A-8279-56C9261A85D5}"/>
          </ac:spMkLst>
        </pc:spChg>
        <pc:spChg chg="mod">
          <ac:chgData name="Jovana Mladenovic" userId="68ad3ef0-87b3-4eb8-b350-097587589b84" providerId="ADAL" clId="{1B385456-0162-4B03-BE16-44EDD14BB45D}" dt="2022-05-04T10:26:49.985" v="750" actId="1038"/>
          <ac:spMkLst>
            <pc:docMk/>
            <pc:sldMk cId="2061379642" sldId="1085"/>
            <ac:spMk id="14" creationId="{E3A0728E-4D9A-468D-8867-1ACD748C4B75}"/>
          </ac:spMkLst>
        </pc:spChg>
        <pc:spChg chg="mod">
          <ac:chgData name="Jovana Mladenovic" userId="68ad3ef0-87b3-4eb8-b350-097587589b84" providerId="ADAL" clId="{1B385456-0162-4B03-BE16-44EDD14BB45D}" dt="2022-05-04T10:26:49.985" v="750" actId="1038"/>
          <ac:spMkLst>
            <pc:docMk/>
            <pc:sldMk cId="2061379642" sldId="1085"/>
            <ac:spMk id="15" creationId="{E3F18D2B-8E66-4096-8FD4-52096F8B0DF1}"/>
          </ac:spMkLst>
        </pc:spChg>
        <pc:spChg chg="mod">
          <ac:chgData name="Jovana Mladenovic" userId="68ad3ef0-87b3-4eb8-b350-097587589b84" providerId="ADAL" clId="{1B385456-0162-4B03-BE16-44EDD14BB45D}" dt="2022-05-04T10:26:49.985" v="750" actId="1038"/>
          <ac:spMkLst>
            <pc:docMk/>
            <pc:sldMk cId="2061379642" sldId="1085"/>
            <ac:spMk id="18" creationId="{0F99F297-BDA2-43C9-9B22-D6A587715DE1}"/>
          </ac:spMkLst>
        </pc:spChg>
        <pc:graphicFrameChg chg="mod">
          <ac:chgData name="Jovana Mladenovic" userId="68ad3ef0-87b3-4eb8-b350-097587589b84" providerId="ADAL" clId="{1B385456-0162-4B03-BE16-44EDD14BB45D}" dt="2022-05-04T10:26:49.985" v="750" actId="1038"/>
          <ac:graphicFrameMkLst>
            <pc:docMk/>
            <pc:sldMk cId="2061379642" sldId="1085"/>
            <ac:graphicFrameMk id="6" creationId="{FA4AA757-2245-4D7E-9967-CB23D886516D}"/>
          </ac:graphicFrameMkLst>
        </pc:graphicFrameChg>
        <pc:graphicFrameChg chg="mod modGraphic">
          <ac:chgData name="Jovana Mladenovic" userId="68ad3ef0-87b3-4eb8-b350-097587589b84" providerId="ADAL" clId="{1B385456-0162-4B03-BE16-44EDD14BB45D}" dt="2022-05-04T10:26:49.985" v="750" actId="1038"/>
          <ac:graphicFrameMkLst>
            <pc:docMk/>
            <pc:sldMk cId="2061379642" sldId="1085"/>
            <ac:graphicFrameMk id="8" creationId="{975761D5-DFA6-4DCC-966B-BD7E3A573E0D}"/>
          </ac:graphicFrameMkLst>
        </pc:graphicFrameChg>
        <pc:graphicFrameChg chg="mod">
          <ac:chgData name="Jovana Mladenovic" userId="68ad3ef0-87b3-4eb8-b350-097587589b84" providerId="ADAL" clId="{1B385456-0162-4B03-BE16-44EDD14BB45D}" dt="2022-05-04T10:26:49.985" v="750" actId="1038"/>
          <ac:graphicFrameMkLst>
            <pc:docMk/>
            <pc:sldMk cId="2061379642" sldId="1085"/>
            <ac:graphicFrameMk id="9" creationId="{3781C6FF-03C0-4664-8D70-76A31B0B2815}"/>
          </ac:graphicFrameMkLst>
        </pc:graphicFrameChg>
        <pc:graphicFrameChg chg="mod">
          <ac:chgData name="Jovana Mladenovic" userId="68ad3ef0-87b3-4eb8-b350-097587589b84" providerId="ADAL" clId="{1B385456-0162-4B03-BE16-44EDD14BB45D}" dt="2022-05-04T10:26:49.985" v="750" actId="1038"/>
          <ac:graphicFrameMkLst>
            <pc:docMk/>
            <pc:sldMk cId="2061379642" sldId="1085"/>
            <ac:graphicFrameMk id="12" creationId="{F85A016E-91E4-4FA9-AC6E-4FF73820641B}"/>
          </ac:graphicFrameMkLst>
        </pc:graphicFrameChg>
      </pc:sldChg>
      <pc:sldChg chg="modSp mod">
        <pc:chgData name="Jovana Mladenovic" userId="68ad3ef0-87b3-4eb8-b350-097587589b84" providerId="ADAL" clId="{1B385456-0162-4B03-BE16-44EDD14BB45D}" dt="2022-05-04T10:45:37.815" v="808" actId="27918"/>
        <pc:sldMkLst>
          <pc:docMk/>
          <pc:sldMk cId="1242722526" sldId="1089"/>
        </pc:sldMkLst>
        <pc:spChg chg="mod">
          <ac:chgData name="Jovana Mladenovic" userId="68ad3ef0-87b3-4eb8-b350-097587589b84" providerId="ADAL" clId="{1B385456-0162-4B03-BE16-44EDD14BB45D}" dt="2022-05-04T10:30:59.195" v="801" actId="554"/>
          <ac:spMkLst>
            <pc:docMk/>
            <pc:sldMk cId="1242722526" sldId="1089"/>
            <ac:spMk id="17" creationId="{ADC961B4-B59A-4836-812F-EF8E26AC2889}"/>
          </ac:spMkLst>
        </pc:spChg>
        <pc:spChg chg="mod">
          <ac:chgData name="Jovana Mladenovic" userId="68ad3ef0-87b3-4eb8-b350-097587589b84" providerId="ADAL" clId="{1B385456-0162-4B03-BE16-44EDD14BB45D}" dt="2022-05-04T10:30:59.195" v="801" actId="554"/>
          <ac:spMkLst>
            <pc:docMk/>
            <pc:sldMk cId="1242722526" sldId="1089"/>
            <ac:spMk id="18" creationId="{91B7353B-9BA3-408D-A9D5-9D970B69D8E8}"/>
          </ac:spMkLst>
        </pc:spChg>
        <pc:spChg chg="mod">
          <ac:chgData name="Jovana Mladenovic" userId="68ad3ef0-87b3-4eb8-b350-097587589b84" providerId="ADAL" clId="{1B385456-0162-4B03-BE16-44EDD14BB45D}" dt="2022-05-04T10:30:59.195" v="801" actId="554"/>
          <ac:spMkLst>
            <pc:docMk/>
            <pc:sldMk cId="1242722526" sldId="1089"/>
            <ac:spMk id="19" creationId="{97D00EDC-9529-40CD-B57A-333BDB211856}"/>
          </ac:spMkLst>
        </pc:spChg>
        <pc:spChg chg="mod">
          <ac:chgData name="Jovana Mladenovic" userId="68ad3ef0-87b3-4eb8-b350-097587589b84" providerId="ADAL" clId="{1B385456-0162-4B03-BE16-44EDD14BB45D}" dt="2022-05-04T10:30:59.195" v="801" actId="554"/>
          <ac:spMkLst>
            <pc:docMk/>
            <pc:sldMk cId="1242722526" sldId="1089"/>
            <ac:spMk id="20" creationId="{9F9B83CD-360B-4E9E-ADBA-8F461E4C5C59}"/>
          </ac:spMkLst>
        </pc:spChg>
        <pc:graphicFrameChg chg="mod">
          <ac:chgData name="Jovana Mladenovic" userId="68ad3ef0-87b3-4eb8-b350-097587589b84" providerId="ADAL" clId="{1B385456-0162-4B03-BE16-44EDD14BB45D}" dt="2022-05-04T10:28:42.823" v="770" actId="1038"/>
          <ac:graphicFrameMkLst>
            <pc:docMk/>
            <pc:sldMk cId="1242722526" sldId="1089"/>
            <ac:graphicFrameMk id="6" creationId="{FA4AA757-2245-4D7E-9967-CB23D886516D}"/>
          </ac:graphicFrameMkLst>
        </pc:graphicFrameChg>
        <pc:graphicFrameChg chg="mod modGraphic">
          <ac:chgData name="Jovana Mladenovic" userId="68ad3ef0-87b3-4eb8-b350-097587589b84" providerId="ADAL" clId="{1B385456-0162-4B03-BE16-44EDD14BB45D}" dt="2022-05-04T10:28:42.823" v="770" actId="1038"/>
          <ac:graphicFrameMkLst>
            <pc:docMk/>
            <pc:sldMk cId="1242722526" sldId="1089"/>
            <ac:graphicFrameMk id="8" creationId="{975761D5-DFA6-4DCC-966B-BD7E3A573E0D}"/>
          </ac:graphicFrameMkLst>
        </pc:graphicFrameChg>
        <pc:graphicFrameChg chg="mod">
          <ac:chgData name="Jovana Mladenovic" userId="68ad3ef0-87b3-4eb8-b350-097587589b84" providerId="ADAL" clId="{1B385456-0162-4B03-BE16-44EDD14BB45D}" dt="2022-05-04T10:28:42.823" v="770" actId="1038"/>
          <ac:graphicFrameMkLst>
            <pc:docMk/>
            <pc:sldMk cId="1242722526" sldId="1089"/>
            <ac:graphicFrameMk id="9" creationId="{3781C6FF-03C0-4664-8D70-76A31B0B2815}"/>
          </ac:graphicFrameMkLst>
        </pc:graphicFrameChg>
        <pc:graphicFrameChg chg="mod">
          <ac:chgData name="Jovana Mladenovic" userId="68ad3ef0-87b3-4eb8-b350-097587589b84" providerId="ADAL" clId="{1B385456-0162-4B03-BE16-44EDD14BB45D}" dt="2022-05-04T10:28:42.823" v="770" actId="1038"/>
          <ac:graphicFrameMkLst>
            <pc:docMk/>
            <pc:sldMk cId="1242722526" sldId="1089"/>
            <ac:graphicFrameMk id="12" creationId="{F85A016E-91E4-4FA9-AC6E-4FF73820641B}"/>
          </ac:graphicFrameMkLst>
        </pc:graphicFrameChg>
      </pc:sldChg>
      <pc:sldChg chg="addSp modSp mod">
        <pc:chgData name="Jovana Mladenovic" userId="68ad3ef0-87b3-4eb8-b350-097587589b84" providerId="ADAL" clId="{1B385456-0162-4B03-BE16-44EDD14BB45D}" dt="2022-05-05T07:43:14.352" v="1416" actId="1035"/>
        <pc:sldMkLst>
          <pc:docMk/>
          <pc:sldMk cId="179518184" sldId="1095"/>
        </pc:sldMkLst>
        <pc:spChg chg="mod">
          <ac:chgData name="Jovana Mladenovic" userId="68ad3ef0-87b3-4eb8-b350-097587589b84" providerId="ADAL" clId="{1B385456-0162-4B03-BE16-44EDD14BB45D}" dt="2022-05-05T07:43:14.352" v="1416" actId="1035"/>
          <ac:spMkLst>
            <pc:docMk/>
            <pc:sldMk cId="179518184" sldId="1095"/>
            <ac:spMk id="13" creationId="{A33F9945-5401-451A-8279-56C9261A85D5}"/>
          </ac:spMkLst>
        </pc:spChg>
        <pc:spChg chg="mod">
          <ac:chgData name="Jovana Mladenovic" userId="68ad3ef0-87b3-4eb8-b350-097587589b84" providerId="ADAL" clId="{1B385456-0162-4B03-BE16-44EDD14BB45D}" dt="2022-05-05T07:43:14.352" v="1416" actId="1035"/>
          <ac:spMkLst>
            <pc:docMk/>
            <pc:sldMk cId="179518184" sldId="1095"/>
            <ac:spMk id="14" creationId="{E3A0728E-4D9A-468D-8867-1ACD748C4B75}"/>
          </ac:spMkLst>
        </pc:spChg>
        <pc:spChg chg="mod">
          <ac:chgData name="Jovana Mladenovic" userId="68ad3ef0-87b3-4eb8-b350-097587589b84" providerId="ADAL" clId="{1B385456-0162-4B03-BE16-44EDD14BB45D}" dt="2022-05-05T07:43:14.352" v="1416" actId="1035"/>
          <ac:spMkLst>
            <pc:docMk/>
            <pc:sldMk cId="179518184" sldId="1095"/>
            <ac:spMk id="15" creationId="{E3F18D2B-8E66-4096-8FD4-52096F8B0DF1}"/>
          </ac:spMkLst>
        </pc:spChg>
        <pc:spChg chg="mod">
          <ac:chgData name="Jovana Mladenovic" userId="68ad3ef0-87b3-4eb8-b350-097587589b84" providerId="ADAL" clId="{1B385456-0162-4B03-BE16-44EDD14BB45D}" dt="2022-05-05T07:43:14.352" v="1416" actId="1035"/>
          <ac:spMkLst>
            <pc:docMk/>
            <pc:sldMk cId="179518184" sldId="1095"/>
            <ac:spMk id="16" creationId="{8BB0004E-059B-45FE-8482-D23A8F7180E2}"/>
          </ac:spMkLst>
        </pc:spChg>
        <pc:spChg chg="mod">
          <ac:chgData name="Jovana Mladenovic" userId="68ad3ef0-87b3-4eb8-b350-097587589b84" providerId="ADAL" clId="{1B385456-0162-4B03-BE16-44EDD14BB45D}" dt="2022-05-05T07:43:14.352" v="1416" actId="1035"/>
          <ac:spMkLst>
            <pc:docMk/>
            <pc:sldMk cId="179518184" sldId="1095"/>
            <ac:spMk id="17" creationId="{98C7DE58-DB1A-460C-951D-8DD4C84DC711}"/>
          </ac:spMkLst>
        </pc:spChg>
        <pc:spChg chg="mod">
          <ac:chgData name="Jovana Mladenovic" userId="68ad3ef0-87b3-4eb8-b350-097587589b84" providerId="ADAL" clId="{1B385456-0162-4B03-BE16-44EDD14BB45D}" dt="2022-05-05T07:43:14.352" v="1416" actId="1035"/>
          <ac:spMkLst>
            <pc:docMk/>
            <pc:sldMk cId="179518184" sldId="1095"/>
            <ac:spMk id="18" creationId="{9AA47847-FFA9-4179-8144-65EB95CBFEAA}"/>
          </ac:spMkLst>
        </pc:spChg>
        <pc:spChg chg="add mod">
          <ac:chgData name="Jovana Mladenovic" userId="68ad3ef0-87b3-4eb8-b350-097587589b84" providerId="ADAL" clId="{1B385456-0162-4B03-BE16-44EDD14BB45D}" dt="2022-05-05T06:59:38.521" v="819" actId="571"/>
          <ac:spMkLst>
            <pc:docMk/>
            <pc:sldMk cId="179518184" sldId="1095"/>
            <ac:spMk id="19" creationId="{CDD0A343-494F-42BE-889F-8835A22D2098}"/>
          </ac:spMkLst>
        </pc:spChg>
        <pc:spChg chg="add mod">
          <ac:chgData name="Jovana Mladenovic" userId="68ad3ef0-87b3-4eb8-b350-097587589b84" providerId="ADAL" clId="{1B385456-0162-4B03-BE16-44EDD14BB45D}" dt="2022-05-05T06:59:38.521" v="819" actId="571"/>
          <ac:spMkLst>
            <pc:docMk/>
            <pc:sldMk cId="179518184" sldId="1095"/>
            <ac:spMk id="20" creationId="{F8C15361-72DE-44EC-8ED6-3E8AD2BFD586}"/>
          </ac:spMkLst>
        </pc:spChg>
        <pc:graphicFrameChg chg="mod">
          <ac:chgData name="Jovana Mladenovic" userId="68ad3ef0-87b3-4eb8-b350-097587589b84" providerId="ADAL" clId="{1B385456-0162-4B03-BE16-44EDD14BB45D}" dt="2022-05-05T07:43:14.352" v="1416" actId="1035"/>
          <ac:graphicFrameMkLst>
            <pc:docMk/>
            <pc:sldMk cId="179518184" sldId="1095"/>
            <ac:graphicFrameMk id="6" creationId="{FA4AA757-2245-4D7E-9967-CB23D886516D}"/>
          </ac:graphicFrameMkLst>
        </pc:graphicFrameChg>
        <pc:graphicFrameChg chg="mod modGraphic">
          <ac:chgData name="Jovana Mladenovic" userId="68ad3ef0-87b3-4eb8-b350-097587589b84" providerId="ADAL" clId="{1B385456-0162-4B03-BE16-44EDD14BB45D}" dt="2022-05-05T07:43:14.352" v="1416" actId="1035"/>
          <ac:graphicFrameMkLst>
            <pc:docMk/>
            <pc:sldMk cId="179518184" sldId="1095"/>
            <ac:graphicFrameMk id="8" creationId="{975761D5-DFA6-4DCC-966B-BD7E3A573E0D}"/>
          </ac:graphicFrameMkLst>
        </pc:graphicFrameChg>
        <pc:graphicFrameChg chg="mod">
          <ac:chgData name="Jovana Mladenovic" userId="68ad3ef0-87b3-4eb8-b350-097587589b84" providerId="ADAL" clId="{1B385456-0162-4B03-BE16-44EDD14BB45D}" dt="2022-05-05T07:43:14.352" v="1416" actId="1035"/>
          <ac:graphicFrameMkLst>
            <pc:docMk/>
            <pc:sldMk cId="179518184" sldId="1095"/>
            <ac:graphicFrameMk id="9" creationId="{3781C6FF-03C0-4664-8D70-76A31B0B2815}"/>
          </ac:graphicFrameMkLst>
        </pc:graphicFrameChg>
        <pc:graphicFrameChg chg="mod">
          <ac:chgData name="Jovana Mladenovic" userId="68ad3ef0-87b3-4eb8-b350-097587589b84" providerId="ADAL" clId="{1B385456-0162-4B03-BE16-44EDD14BB45D}" dt="2022-05-05T07:43:14.352" v="1416" actId="1035"/>
          <ac:graphicFrameMkLst>
            <pc:docMk/>
            <pc:sldMk cId="179518184" sldId="1095"/>
            <ac:graphicFrameMk id="12" creationId="{F85A016E-91E4-4FA9-AC6E-4FF73820641B}"/>
          </ac:graphicFrameMkLst>
        </pc:graphicFrameChg>
      </pc:sldChg>
      <pc:sldChg chg="modSp mod">
        <pc:chgData name="Jovana Mladenovic" userId="68ad3ef0-87b3-4eb8-b350-097587589b84" providerId="ADAL" clId="{1B385456-0162-4B03-BE16-44EDD14BB45D}" dt="2022-05-05T07:40:30.836" v="1393" actId="1038"/>
        <pc:sldMkLst>
          <pc:docMk/>
          <pc:sldMk cId="3952489400" sldId="1098"/>
        </pc:sldMkLst>
        <pc:spChg chg="mod">
          <ac:chgData name="Jovana Mladenovic" userId="68ad3ef0-87b3-4eb8-b350-097587589b84" providerId="ADAL" clId="{1B385456-0162-4B03-BE16-44EDD14BB45D}" dt="2022-05-05T07:40:30.836" v="1393" actId="1038"/>
          <ac:spMkLst>
            <pc:docMk/>
            <pc:sldMk cId="3952489400" sldId="1098"/>
            <ac:spMk id="13" creationId="{A33F9945-5401-451A-8279-56C9261A85D5}"/>
          </ac:spMkLst>
        </pc:spChg>
        <pc:spChg chg="mod">
          <ac:chgData name="Jovana Mladenovic" userId="68ad3ef0-87b3-4eb8-b350-097587589b84" providerId="ADAL" clId="{1B385456-0162-4B03-BE16-44EDD14BB45D}" dt="2022-05-05T07:40:30.836" v="1393" actId="1038"/>
          <ac:spMkLst>
            <pc:docMk/>
            <pc:sldMk cId="3952489400" sldId="1098"/>
            <ac:spMk id="14" creationId="{E3A0728E-4D9A-468D-8867-1ACD748C4B75}"/>
          </ac:spMkLst>
        </pc:spChg>
        <pc:spChg chg="mod">
          <ac:chgData name="Jovana Mladenovic" userId="68ad3ef0-87b3-4eb8-b350-097587589b84" providerId="ADAL" clId="{1B385456-0162-4B03-BE16-44EDD14BB45D}" dt="2022-05-05T07:40:30.836" v="1393" actId="1038"/>
          <ac:spMkLst>
            <pc:docMk/>
            <pc:sldMk cId="3952489400" sldId="1098"/>
            <ac:spMk id="15" creationId="{E3F18D2B-8E66-4096-8FD4-52096F8B0DF1}"/>
          </ac:spMkLst>
        </pc:spChg>
        <pc:spChg chg="mod">
          <ac:chgData name="Jovana Mladenovic" userId="68ad3ef0-87b3-4eb8-b350-097587589b84" providerId="ADAL" clId="{1B385456-0162-4B03-BE16-44EDD14BB45D}" dt="2022-05-05T07:40:30.836" v="1393" actId="1038"/>
          <ac:spMkLst>
            <pc:docMk/>
            <pc:sldMk cId="3952489400" sldId="1098"/>
            <ac:spMk id="16" creationId="{8BB0004E-059B-45FE-8482-D23A8F7180E2}"/>
          </ac:spMkLst>
        </pc:spChg>
        <pc:spChg chg="mod">
          <ac:chgData name="Jovana Mladenovic" userId="68ad3ef0-87b3-4eb8-b350-097587589b84" providerId="ADAL" clId="{1B385456-0162-4B03-BE16-44EDD14BB45D}" dt="2022-05-05T07:40:30.836" v="1393" actId="1038"/>
          <ac:spMkLst>
            <pc:docMk/>
            <pc:sldMk cId="3952489400" sldId="1098"/>
            <ac:spMk id="17" creationId="{98C7DE58-DB1A-460C-951D-8DD4C84DC711}"/>
          </ac:spMkLst>
        </pc:spChg>
        <pc:spChg chg="mod">
          <ac:chgData name="Jovana Mladenovic" userId="68ad3ef0-87b3-4eb8-b350-097587589b84" providerId="ADAL" clId="{1B385456-0162-4B03-BE16-44EDD14BB45D}" dt="2022-05-05T07:40:30.836" v="1393" actId="1038"/>
          <ac:spMkLst>
            <pc:docMk/>
            <pc:sldMk cId="3952489400" sldId="1098"/>
            <ac:spMk id="18" creationId="{9AA47847-FFA9-4179-8144-65EB95CBFEAA}"/>
          </ac:spMkLst>
        </pc:spChg>
        <pc:graphicFrameChg chg="mod">
          <ac:chgData name="Jovana Mladenovic" userId="68ad3ef0-87b3-4eb8-b350-097587589b84" providerId="ADAL" clId="{1B385456-0162-4B03-BE16-44EDD14BB45D}" dt="2022-05-05T07:40:30.836" v="1393" actId="1038"/>
          <ac:graphicFrameMkLst>
            <pc:docMk/>
            <pc:sldMk cId="3952489400" sldId="1098"/>
            <ac:graphicFrameMk id="6" creationId="{FA4AA757-2245-4D7E-9967-CB23D886516D}"/>
          </ac:graphicFrameMkLst>
        </pc:graphicFrameChg>
        <pc:graphicFrameChg chg="mod modGraphic">
          <ac:chgData name="Jovana Mladenovic" userId="68ad3ef0-87b3-4eb8-b350-097587589b84" providerId="ADAL" clId="{1B385456-0162-4B03-BE16-44EDD14BB45D}" dt="2022-05-05T07:40:30.836" v="1393" actId="1038"/>
          <ac:graphicFrameMkLst>
            <pc:docMk/>
            <pc:sldMk cId="3952489400" sldId="1098"/>
            <ac:graphicFrameMk id="8" creationId="{975761D5-DFA6-4DCC-966B-BD7E3A573E0D}"/>
          </ac:graphicFrameMkLst>
        </pc:graphicFrameChg>
        <pc:graphicFrameChg chg="mod">
          <ac:chgData name="Jovana Mladenovic" userId="68ad3ef0-87b3-4eb8-b350-097587589b84" providerId="ADAL" clId="{1B385456-0162-4B03-BE16-44EDD14BB45D}" dt="2022-05-05T07:40:30.836" v="1393" actId="1038"/>
          <ac:graphicFrameMkLst>
            <pc:docMk/>
            <pc:sldMk cId="3952489400" sldId="1098"/>
            <ac:graphicFrameMk id="9" creationId="{3781C6FF-03C0-4664-8D70-76A31B0B2815}"/>
          </ac:graphicFrameMkLst>
        </pc:graphicFrameChg>
        <pc:graphicFrameChg chg="mod">
          <ac:chgData name="Jovana Mladenovic" userId="68ad3ef0-87b3-4eb8-b350-097587589b84" providerId="ADAL" clId="{1B385456-0162-4B03-BE16-44EDD14BB45D}" dt="2022-05-05T07:39:32.277" v="1368" actId="1035"/>
          <ac:graphicFrameMkLst>
            <pc:docMk/>
            <pc:sldMk cId="3952489400" sldId="1098"/>
            <ac:graphicFrameMk id="12" creationId="{F85A016E-91E4-4FA9-AC6E-4FF73820641B}"/>
          </ac:graphicFrameMkLst>
        </pc:graphicFrameChg>
      </pc:sldChg>
      <pc:sldChg chg="modSp mod">
        <pc:chgData name="Jovana Mladenovic" userId="68ad3ef0-87b3-4eb8-b350-097587589b84" providerId="ADAL" clId="{1B385456-0162-4B03-BE16-44EDD14BB45D}" dt="2022-05-05T07:40:15.826" v="1389" actId="1036"/>
        <pc:sldMkLst>
          <pc:docMk/>
          <pc:sldMk cId="592512221" sldId="1099"/>
        </pc:sldMkLst>
        <pc:spChg chg="mod">
          <ac:chgData name="Jovana Mladenovic" userId="68ad3ef0-87b3-4eb8-b350-097587589b84" providerId="ADAL" clId="{1B385456-0162-4B03-BE16-44EDD14BB45D}" dt="2022-05-05T07:40:15.826" v="1389" actId="1036"/>
          <ac:spMkLst>
            <pc:docMk/>
            <pc:sldMk cId="592512221" sldId="1099"/>
            <ac:spMk id="19" creationId="{24936684-17F7-4C62-80D8-0A88E9D7E7DA}"/>
          </ac:spMkLst>
        </pc:spChg>
        <pc:spChg chg="mod">
          <ac:chgData name="Jovana Mladenovic" userId="68ad3ef0-87b3-4eb8-b350-097587589b84" providerId="ADAL" clId="{1B385456-0162-4B03-BE16-44EDD14BB45D}" dt="2022-05-05T07:40:15.826" v="1389" actId="1036"/>
          <ac:spMkLst>
            <pc:docMk/>
            <pc:sldMk cId="592512221" sldId="1099"/>
            <ac:spMk id="20" creationId="{1D9A87FB-1AD6-476C-8D67-7FED47BA9E62}"/>
          </ac:spMkLst>
        </pc:spChg>
        <pc:spChg chg="mod">
          <ac:chgData name="Jovana Mladenovic" userId="68ad3ef0-87b3-4eb8-b350-097587589b84" providerId="ADAL" clId="{1B385456-0162-4B03-BE16-44EDD14BB45D}" dt="2022-05-05T07:40:15.826" v="1389" actId="1036"/>
          <ac:spMkLst>
            <pc:docMk/>
            <pc:sldMk cId="592512221" sldId="1099"/>
            <ac:spMk id="21" creationId="{C39C8A7D-3955-495D-92F7-585800716475}"/>
          </ac:spMkLst>
        </pc:spChg>
        <pc:spChg chg="mod">
          <ac:chgData name="Jovana Mladenovic" userId="68ad3ef0-87b3-4eb8-b350-097587589b84" providerId="ADAL" clId="{1B385456-0162-4B03-BE16-44EDD14BB45D}" dt="2022-05-05T07:40:15.826" v="1389" actId="1036"/>
          <ac:spMkLst>
            <pc:docMk/>
            <pc:sldMk cId="592512221" sldId="1099"/>
            <ac:spMk id="22" creationId="{904421AD-8B5D-4D9F-B057-84ABB1548B71}"/>
          </ac:spMkLst>
        </pc:spChg>
        <pc:spChg chg="mod">
          <ac:chgData name="Jovana Mladenovic" userId="68ad3ef0-87b3-4eb8-b350-097587589b84" providerId="ADAL" clId="{1B385456-0162-4B03-BE16-44EDD14BB45D}" dt="2022-05-05T07:40:15.826" v="1389" actId="1036"/>
          <ac:spMkLst>
            <pc:docMk/>
            <pc:sldMk cId="592512221" sldId="1099"/>
            <ac:spMk id="23" creationId="{C8FFAE03-7BE3-4D9E-AEE3-113D2750FA5D}"/>
          </ac:spMkLst>
        </pc:spChg>
        <pc:spChg chg="mod">
          <ac:chgData name="Jovana Mladenovic" userId="68ad3ef0-87b3-4eb8-b350-097587589b84" providerId="ADAL" clId="{1B385456-0162-4B03-BE16-44EDD14BB45D}" dt="2022-05-05T07:40:15.826" v="1389" actId="1036"/>
          <ac:spMkLst>
            <pc:docMk/>
            <pc:sldMk cId="592512221" sldId="1099"/>
            <ac:spMk id="24" creationId="{782A3847-38B9-4890-A70A-FF408520DA12}"/>
          </ac:spMkLst>
        </pc:spChg>
        <pc:graphicFrameChg chg="mod">
          <ac:chgData name="Jovana Mladenovic" userId="68ad3ef0-87b3-4eb8-b350-097587589b84" providerId="ADAL" clId="{1B385456-0162-4B03-BE16-44EDD14BB45D}" dt="2022-05-05T07:40:15.826" v="1389" actId="1036"/>
          <ac:graphicFrameMkLst>
            <pc:docMk/>
            <pc:sldMk cId="592512221" sldId="1099"/>
            <ac:graphicFrameMk id="6" creationId="{FA4AA757-2245-4D7E-9967-CB23D886516D}"/>
          </ac:graphicFrameMkLst>
        </pc:graphicFrameChg>
        <pc:graphicFrameChg chg="mod modGraphic">
          <ac:chgData name="Jovana Mladenovic" userId="68ad3ef0-87b3-4eb8-b350-097587589b84" providerId="ADAL" clId="{1B385456-0162-4B03-BE16-44EDD14BB45D}" dt="2022-05-05T07:40:15.826" v="1389" actId="1036"/>
          <ac:graphicFrameMkLst>
            <pc:docMk/>
            <pc:sldMk cId="592512221" sldId="1099"/>
            <ac:graphicFrameMk id="8" creationId="{975761D5-DFA6-4DCC-966B-BD7E3A573E0D}"/>
          </ac:graphicFrameMkLst>
        </pc:graphicFrameChg>
        <pc:graphicFrameChg chg="mod">
          <ac:chgData name="Jovana Mladenovic" userId="68ad3ef0-87b3-4eb8-b350-097587589b84" providerId="ADAL" clId="{1B385456-0162-4B03-BE16-44EDD14BB45D}" dt="2022-05-05T07:40:15.826" v="1389" actId="1036"/>
          <ac:graphicFrameMkLst>
            <pc:docMk/>
            <pc:sldMk cId="592512221" sldId="1099"/>
            <ac:graphicFrameMk id="9" creationId="{3781C6FF-03C0-4664-8D70-76A31B0B2815}"/>
          </ac:graphicFrameMkLst>
        </pc:graphicFrameChg>
        <pc:graphicFrameChg chg="mod">
          <ac:chgData name="Jovana Mladenovic" userId="68ad3ef0-87b3-4eb8-b350-097587589b84" providerId="ADAL" clId="{1B385456-0162-4B03-BE16-44EDD14BB45D}" dt="2022-05-05T07:40:15.826" v="1389" actId="1036"/>
          <ac:graphicFrameMkLst>
            <pc:docMk/>
            <pc:sldMk cId="592512221" sldId="1099"/>
            <ac:graphicFrameMk id="12" creationId="{F85A016E-91E4-4FA9-AC6E-4FF73820641B}"/>
          </ac:graphicFrameMkLst>
        </pc:graphicFrameChg>
      </pc:sldChg>
      <pc:sldChg chg="modSp mod">
        <pc:chgData name="Jovana Mladenovic" userId="68ad3ef0-87b3-4eb8-b350-097587589b84" providerId="ADAL" clId="{1B385456-0162-4B03-BE16-44EDD14BB45D}" dt="2022-05-05T07:42:54.626" v="1415" actId="1036"/>
        <pc:sldMkLst>
          <pc:docMk/>
          <pc:sldMk cId="3330967287" sldId="1100"/>
        </pc:sldMkLst>
        <pc:spChg chg="mod">
          <ac:chgData name="Jovana Mladenovic" userId="68ad3ef0-87b3-4eb8-b350-097587589b84" providerId="ADAL" clId="{1B385456-0162-4B03-BE16-44EDD14BB45D}" dt="2022-05-05T07:42:54.626" v="1415" actId="1036"/>
          <ac:spMkLst>
            <pc:docMk/>
            <pc:sldMk cId="3330967287" sldId="1100"/>
            <ac:spMk id="13" creationId="{A33F9945-5401-451A-8279-56C9261A85D5}"/>
          </ac:spMkLst>
        </pc:spChg>
        <pc:spChg chg="mod">
          <ac:chgData name="Jovana Mladenovic" userId="68ad3ef0-87b3-4eb8-b350-097587589b84" providerId="ADAL" clId="{1B385456-0162-4B03-BE16-44EDD14BB45D}" dt="2022-05-05T07:42:54.626" v="1415" actId="1036"/>
          <ac:spMkLst>
            <pc:docMk/>
            <pc:sldMk cId="3330967287" sldId="1100"/>
            <ac:spMk id="14" creationId="{E3A0728E-4D9A-468D-8867-1ACD748C4B75}"/>
          </ac:spMkLst>
        </pc:spChg>
        <pc:spChg chg="mod">
          <ac:chgData name="Jovana Mladenovic" userId="68ad3ef0-87b3-4eb8-b350-097587589b84" providerId="ADAL" clId="{1B385456-0162-4B03-BE16-44EDD14BB45D}" dt="2022-05-05T07:42:54.626" v="1415" actId="1036"/>
          <ac:spMkLst>
            <pc:docMk/>
            <pc:sldMk cId="3330967287" sldId="1100"/>
            <ac:spMk id="15" creationId="{E3F18D2B-8E66-4096-8FD4-52096F8B0DF1}"/>
          </ac:spMkLst>
        </pc:spChg>
        <pc:spChg chg="mod">
          <ac:chgData name="Jovana Mladenovic" userId="68ad3ef0-87b3-4eb8-b350-097587589b84" providerId="ADAL" clId="{1B385456-0162-4B03-BE16-44EDD14BB45D}" dt="2022-05-05T07:42:54.626" v="1415" actId="1036"/>
          <ac:spMkLst>
            <pc:docMk/>
            <pc:sldMk cId="3330967287" sldId="1100"/>
            <ac:spMk id="16" creationId="{8BB0004E-059B-45FE-8482-D23A8F7180E2}"/>
          </ac:spMkLst>
        </pc:spChg>
        <pc:spChg chg="mod">
          <ac:chgData name="Jovana Mladenovic" userId="68ad3ef0-87b3-4eb8-b350-097587589b84" providerId="ADAL" clId="{1B385456-0162-4B03-BE16-44EDD14BB45D}" dt="2022-05-05T07:42:54.626" v="1415" actId="1036"/>
          <ac:spMkLst>
            <pc:docMk/>
            <pc:sldMk cId="3330967287" sldId="1100"/>
            <ac:spMk id="17" creationId="{98C7DE58-DB1A-460C-951D-8DD4C84DC711}"/>
          </ac:spMkLst>
        </pc:spChg>
        <pc:spChg chg="mod">
          <ac:chgData name="Jovana Mladenovic" userId="68ad3ef0-87b3-4eb8-b350-097587589b84" providerId="ADAL" clId="{1B385456-0162-4B03-BE16-44EDD14BB45D}" dt="2022-05-05T07:42:54.626" v="1415" actId="1036"/>
          <ac:spMkLst>
            <pc:docMk/>
            <pc:sldMk cId="3330967287" sldId="1100"/>
            <ac:spMk id="18" creationId="{9AA47847-FFA9-4179-8144-65EB95CBFEAA}"/>
          </ac:spMkLst>
        </pc:spChg>
        <pc:graphicFrameChg chg="mod">
          <ac:chgData name="Jovana Mladenovic" userId="68ad3ef0-87b3-4eb8-b350-097587589b84" providerId="ADAL" clId="{1B385456-0162-4B03-BE16-44EDD14BB45D}" dt="2022-05-05T07:42:54.626" v="1415" actId="1036"/>
          <ac:graphicFrameMkLst>
            <pc:docMk/>
            <pc:sldMk cId="3330967287" sldId="1100"/>
            <ac:graphicFrameMk id="6" creationId="{FA4AA757-2245-4D7E-9967-CB23D886516D}"/>
          </ac:graphicFrameMkLst>
        </pc:graphicFrameChg>
        <pc:graphicFrameChg chg="mod modGraphic">
          <ac:chgData name="Jovana Mladenovic" userId="68ad3ef0-87b3-4eb8-b350-097587589b84" providerId="ADAL" clId="{1B385456-0162-4B03-BE16-44EDD14BB45D}" dt="2022-05-05T07:42:54.626" v="1415" actId="1036"/>
          <ac:graphicFrameMkLst>
            <pc:docMk/>
            <pc:sldMk cId="3330967287" sldId="1100"/>
            <ac:graphicFrameMk id="8" creationId="{975761D5-DFA6-4DCC-966B-BD7E3A573E0D}"/>
          </ac:graphicFrameMkLst>
        </pc:graphicFrameChg>
        <pc:graphicFrameChg chg="mod">
          <ac:chgData name="Jovana Mladenovic" userId="68ad3ef0-87b3-4eb8-b350-097587589b84" providerId="ADAL" clId="{1B385456-0162-4B03-BE16-44EDD14BB45D}" dt="2022-05-05T07:42:54.626" v="1415" actId="1036"/>
          <ac:graphicFrameMkLst>
            <pc:docMk/>
            <pc:sldMk cId="3330967287" sldId="1100"/>
            <ac:graphicFrameMk id="9" creationId="{3781C6FF-03C0-4664-8D70-76A31B0B2815}"/>
          </ac:graphicFrameMkLst>
        </pc:graphicFrameChg>
        <pc:graphicFrameChg chg="mod">
          <ac:chgData name="Jovana Mladenovic" userId="68ad3ef0-87b3-4eb8-b350-097587589b84" providerId="ADAL" clId="{1B385456-0162-4B03-BE16-44EDD14BB45D}" dt="2022-05-05T07:42:54.626" v="1415" actId="1036"/>
          <ac:graphicFrameMkLst>
            <pc:docMk/>
            <pc:sldMk cId="3330967287" sldId="1100"/>
            <ac:graphicFrameMk id="12" creationId="{F85A016E-91E4-4FA9-AC6E-4FF73820641B}"/>
          </ac:graphicFrameMkLst>
        </pc:graphicFrameChg>
      </pc:sldChg>
      <pc:sldChg chg="modSp mod">
        <pc:chgData name="Jovana Mladenovic" userId="68ad3ef0-87b3-4eb8-b350-097587589b84" providerId="ADAL" clId="{1B385456-0162-4B03-BE16-44EDD14BB45D}" dt="2022-05-04T10:23:30.434" v="744" actId="27918"/>
        <pc:sldMkLst>
          <pc:docMk/>
          <pc:sldMk cId="2144003466" sldId="1101"/>
        </pc:sldMkLst>
        <pc:spChg chg="mod">
          <ac:chgData name="Jovana Mladenovic" userId="68ad3ef0-87b3-4eb8-b350-097587589b84" providerId="ADAL" clId="{1B385456-0162-4B03-BE16-44EDD14BB45D}" dt="2022-05-03T06:34:10.161" v="26" actId="20577"/>
          <ac:spMkLst>
            <pc:docMk/>
            <pc:sldMk cId="2144003466" sldId="1101"/>
            <ac:spMk id="18" creationId="{0F99F297-BDA2-43C9-9B22-D6A587715DE1}"/>
          </ac:spMkLst>
        </pc:spChg>
      </pc:sldChg>
    </pc:docChg>
  </pc:docChgLst>
  <pc:docChgLst>
    <pc:chgData name="Jurica  Sarcevic" userId="02d127bb-aa24-40ab-a9fe-cab7b749804e" providerId="ADAL" clId="{BC20965A-61E5-459A-A868-7A65AB549E17}"/>
    <pc:docChg chg="undo custSel addSld delSld modSld sldOrd">
      <pc:chgData name="Jurica  Sarcevic" userId="02d127bb-aa24-40ab-a9fe-cab7b749804e" providerId="ADAL" clId="{BC20965A-61E5-459A-A868-7A65AB549E17}" dt="2022-02-03T21:08:52.067" v="3203" actId="20577"/>
      <pc:docMkLst>
        <pc:docMk/>
      </pc:docMkLst>
      <pc:sldChg chg="modSp add del mod ord">
        <pc:chgData name="Jurica  Sarcevic" userId="02d127bb-aa24-40ab-a9fe-cab7b749804e" providerId="ADAL" clId="{BC20965A-61E5-459A-A868-7A65AB549E17}" dt="2022-02-03T17:42:47.079" v="1599" actId="47"/>
        <pc:sldMkLst>
          <pc:docMk/>
          <pc:sldMk cId="2987415868" sldId="1083"/>
        </pc:sldMkLst>
        <pc:graphicFrameChg chg="mod modGraphic">
          <ac:chgData name="Jurica  Sarcevic" userId="02d127bb-aa24-40ab-a9fe-cab7b749804e" providerId="ADAL" clId="{BC20965A-61E5-459A-A868-7A65AB549E17}" dt="2022-02-03T10:10:55.353" v="352" actId="5793"/>
          <ac:graphicFrameMkLst>
            <pc:docMk/>
            <pc:sldMk cId="2987415868" sldId="1083"/>
            <ac:graphicFrameMk id="8" creationId="{975761D5-DFA6-4DCC-966B-BD7E3A573E0D}"/>
          </ac:graphicFrameMkLst>
        </pc:graphicFrameChg>
        <pc:graphicFrameChg chg="mod">
          <ac:chgData name="Jurica  Sarcevic" userId="02d127bb-aa24-40ab-a9fe-cab7b749804e" providerId="ADAL" clId="{BC20965A-61E5-459A-A868-7A65AB549E17}" dt="2022-02-03T09:56:31.207" v="162"/>
          <ac:graphicFrameMkLst>
            <pc:docMk/>
            <pc:sldMk cId="2987415868" sldId="1083"/>
            <ac:graphicFrameMk id="9" creationId="{3781C6FF-03C0-4664-8D70-76A31B0B2815}"/>
          </ac:graphicFrameMkLst>
        </pc:graphicFrameChg>
      </pc:sldChg>
      <pc:sldChg chg="mod">
        <pc:chgData name="Jurica  Sarcevic" userId="02d127bb-aa24-40ab-a9fe-cab7b749804e" providerId="ADAL" clId="{BC20965A-61E5-459A-A868-7A65AB549E17}" dt="2022-02-03T20:36:03.182" v="3099" actId="27918"/>
        <pc:sldMkLst>
          <pc:docMk/>
          <pc:sldMk cId="2061379642" sldId="1085"/>
        </pc:sldMkLst>
      </pc:sldChg>
      <pc:sldChg chg="modSp mod">
        <pc:chgData name="Jurica  Sarcevic" userId="02d127bb-aa24-40ab-a9fe-cab7b749804e" providerId="ADAL" clId="{BC20965A-61E5-459A-A868-7A65AB549E17}" dt="2022-02-03T18:16:43.254" v="1837"/>
        <pc:sldMkLst>
          <pc:docMk/>
          <pc:sldMk cId="179518184" sldId="1095"/>
        </pc:sldMkLst>
        <pc:graphicFrameChg chg="mod modGraphic">
          <ac:chgData name="Jurica  Sarcevic" userId="02d127bb-aa24-40ab-a9fe-cab7b749804e" providerId="ADAL" clId="{BC20965A-61E5-459A-A868-7A65AB549E17}" dt="2022-02-03T18:16:43.254" v="1837"/>
          <ac:graphicFrameMkLst>
            <pc:docMk/>
            <pc:sldMk cId="179518184" sldId="1095"/>
            <ac:graphicFrameMk id="8" creationId="{975761D5-DFA6-4DCC-966B-BD7E3A573E0D}"/>
          </ac:graphicFrameMkLst>
        </pc:graphicFrameChg>
      </pc:sldChg>
      <pc:sldChg chg="delSp del">
        <pc:chgData name="Jurica  Sarcevic" userId="02d127bb-aa24-40ab-a9fe-cab7b749804e" providerId="ADAL" clId="{BC20965A-61E5-459A-A868-7A65AB549E17}" dt="2022-02-03T20:51:58.009" v="3162" actId="47"/>
        <pc:sldMkLst>
          <pc:docMk/>
          <pc:sldMk cId="558225121" sldId="1097"/>
        </pc:sldMkLst>
        <pc:picChg chg="del">
          <ac:chgData name="Jurica  Sarcevic" userId="02d127bb-aa24-40ab-a9fe-cab7b749804e" providerId="ADAL" clId="{BC20965A-61E5-459A-A868-7A65AB549E17}" dt="2022-02-03T20:51:41.338" v="3161"/>
          <ac:picMkLst>
            <pc:docMk/>
            <pc:sldMk cId="558225121" sldId="1097"/>
            <ac:picMk id="4" creationId="{0F7B8F15-C89D-49D9-8E05-1C3D22446CE3}"/>
          </ac:picMkLst>
        </pc:picChg>
      </pc:sldChg>
      <pc:sldChg chg="modSp mod">
        <pc:chgData name="Jurica  Sarcevic" userId="02d127bb-aa24-40ab-a9fe-cab7b749804e" providerId="ADAL" clId="{BC20965A-61E5-459A-A868-7A65AB549E17}" dt="2022-02-03T20:32:18.217" v="3070" actId="27918"/>
        <pc:sldMkLst>
          <pc:docMk/>
          <pc:sldMk cId="3952489400" sldId="1098"/>
        </pc:sldMkLst>
        <pc:graphicFrameChg chg="mod modGraphic">
          <ac:chgData name="Jurica  Sarcevic" userId="02d127bb-aa24-40ab-a9fe-cab7b749804e" providerId="ADAL" clId="{BC20965A-61E5-459A-A868-7A65AB549E17}" dt="2022-02-03T20:30:06.322" v="3038" actId="20577"/>
          <ac:graphicFrameMkLst>
            <pc:docMk/>
            <pc:sldMk cId="3952489400" sldId="1098"/>
            <ac:graphicFrameMk id="8" creationId="{975761D5-DFA6-4DCC-966B-BD7E3A573E0D}"/>
          </ac:graphicFrameMkLst>
        </pc:graphicFrameChg>
      </pc:sldChg>
      <pc:sldChg chg="modSp mod">
        <pc:chgData name="Jurica  Sarcevic" userId="02d127bb-aa24-40ab-a9fe-cab7b749804e" providerId="ADAL" clId="{BC20965A-61E5-459A-A868-7A65AB549E17}" dt="2022-02-03T20:33:28.626" v="3093" actId="27918"/>
        <pc:sldMkLst>
          <pc:docMk/>
          <pc:sldMk cId="592512221" sldId="1099"/>
        </pc:sldMkLst>
        <pc:graphicFrameChg chg="mod">
          <ac:chgData name="Jurica  Sarcevic" userId="02d127bb-aa24-40ab-a9fe-cab7b749804e" providerId="ADAL" clId="{BC20965A-61E5-459A-A868-7A65AB549E17}" dt="2022-02-03T18:38:37.912" v="2031"/>
          <ac:graphicFrameMkLst>
            <pc:docMk/>
            <pc:sldMk cId="592512221" sldId="1099"/>
            <ac:graphicFrameMk id="6" creationId="{FA4AA757-2245-4D7E-9967-CB23D886516D}"/>
          </ac:graphicFrameMkLst>
        </pc:graphicFrameChg>
        <pc:graphicFrameChg chg="mod modGraphic">
          <ac:chgData name="Jurica  Sarcevic" userId="02d127bb-aa24-40ab-a9fe-cab7b749804e" providerId="ADAL" clId="{BC20965A-61E5-459A-A868-7A65AB549E17}" dt="2022-02-03T20:26:52.842" v="2895"/>
          <ac:graphicFrameMkLst>
            <pc:docMk/>
            <pc:sldMk cId="592512221" sldId="1099"/>
            <ac:graphicFrameMk id="8" creationId="{975761D5-DFA6-4DCC-966B-BD7E3A573E0D}"/>
          </ac:graphicFrameMkLst>
        </pc:graphicFrameChg>
      </pc:sldChg>
      <pc:sldChg chg="modSp add mod">
        <pc:chgData name="Jurica  Sarcevic" userId="02d127bb-aa24-40ab-a9fe-cab7b749804e" providerId="ADAL" clId="{BC20965A-61E5-459A-A868-7A65AB549E17}" dt="2022-02-03T21:08:52.067" v="3203" actId="20577"/>
        <pc:sldMkLst>
          <pc:docMk/>
          <pc:sldMk cId="3330967287" sldId="1100"/>
        </pc:sldMkLst>
        <pc:graphicFrameChg chg="mod">
          <ac:chgData name="Jurica  Sarcevic" userId="02d127bb-aa24-40ab-a9fe-cab7b749804e" providerId="ADAL" clId="{BC20965A-61E5-459A-A868-7A65AB549E17}" dt="2022-02-03T17:23:53.649" v="1362"/>
          <ac:graphicFrameMkLst>
            <pc:docMk/>
            <pc:sldMk cId="3330967287" sldId="1100"/>
            <ac:graphicFrameMk id="6" creationId="{FA4AA757-2245-4D7E-9967-CB23D886516D}"/>
          </ac:graphicFrameMkLst>
        </pc:graphicFrameChg>
        <pc:graphicFrameChg chg="mod modGraphic">
          <ac:chgData name="Jurica  Sarcevic" userId="02d127bb-aa24-40ab-a9fe-cab7b749804e" providerId="ADAL" clId="{BC20965A-61E5-459A-A868-7A65AB549E17}" dt="2022-02-03T21:08:52.067" v="3203" actId="20577"/>
          <ac:graphicFrameMkLst>
            <pc:docMk/>
            <pc:sldMk cId="3330967287" sldId="1100"/>
            <ac:graphicFrameMk id="8" creationId="{975761D5-DFA6-4DCC-966B-BD7E3A573E0D}"/>
          </ac:graphicFrameMkLst>
        </pc:graphicFrameChg>
        <pc:graphicFrameChg chg="mod">
          <ac:chgData name="Jurica  Sarcevic" userId="02d127bb-aa24-40ab-a9fe-cab7b749804e" providerId="ADAL" clId="{BC20965A-61E5-459A-A868-7A65AB549E17}" dt="2022-02-03T17:28:32.956" v="1454"/>
          <ac:graphicFrameMkLst>
            <pc:docMk/>
            <pc:sldMk cId="3330967287" sldId="1100"/>
            <ac:graphicFrameMk id="9" creationId="{3781C6FF-03C0-4664-8D70-76A31B0B2815}"/>
          </ac:graphicFrameMkLst>
        </pc:graphicFrameChg>
        <pc:graphicFrameChg chg="mod">
          <ac:chgData name="Jurica  Sarcevic" userId="02d127bb-aa24-40ab-a9fe-cab7b749804e" providerId="ADAL" clId="{BC20965A-61E5-459A-A868-7A65AB549E17}" dt="2022-02-03T20:48:23.721" v="3152" actId="14100"/>
          <ac:graphicFrameMkLst>
            <pc:docMk/>
            <pc:sldMk cId="3330967287" sldId="1100"/>
            <ac:graphicFrameMk id="12" creationId="{F85A016E-91E4-4FA9-AC6E-4FF73820641B}"/>
          </ac:graphicFrameMkLst>
        </pc:graphicFrameChg>
      </pc:sldChg>
      <pc:sldChg chg="modSp mod">
        <pc:chgData name="Jurica  Sarcevic" userId="02d127bb-aa24-40ab-a9fe-cab7b749804e" providerId="ADAL" clId="{BC20965A-61E5-459A-A868-7A65AB549E17}" dt="2022-02-03T21:00:39.401" v="3197" actId="27918"/>
        <pc:sldMkLst>
          <pc:docMk/>
          <pc:sldMk cId="2144003466" sldId="1101"/>
        </pc:sldMkLst>
        <pc:spChg chg="mod">
          <ac:chgData name="Jurica  Sarcevic" userId="02d127bb-aa24-40ab-a9fe-cab7b749804e" providerId="ADAL" clId="{BC20965A-61E5-459A-A868-7A65AB549E17}" dt="2022-02-03T20:52:30.433" v="3182" actId="20577"/>
          <ac:spMkLst>
            <pc:docMk/>
            <pc:sldMk cId="2144003466" sldId="1101"/>
            <ac:spMk id="18" creationId="{0F99F297-BDA2-43C9-9B22-D6A587715DE1}"/>
          </ac:spMkLst>
        </pc:spChg>
      </pc:sldChg>
    </pc:docChg>
  </pc:docChgLst>
  <pc:docChgLst>
    <pc:chgData name="Jovana Mladenovic" userId="68ad3ef0-87b3-4eb8-b350-097587589b84" providerId="ADAL" clId="{983993E0-1803-4FB1-84E0-169E58E429DA}"/>
    <pc:docChg chg="undo redo custSel modSld">
      <pc:chgData name="Jovana Mladenovic" userId="68ad3ef0-87b3-4eb8-b350-097587589b84" providerId="ADAL" clId="{983993E0-1803-4FB1-84E0-169E58E429DA}" dt="2022-06-03T07:45:28.125" v="1072" actId="6549"/>
      <pc:docMkLst>
        <pc:docMk/>
      </pc:docMkLst>
      <pc:sldChg chg="modSp mod">
        <pc:chgData name="Jovana Mladenovic" userId="68ad3ef0-87b3-4eb8-b350-097587589b84" providerId="ADAL" clId="{983993E0-1803-4FB1-84E0-169E58E429DA}" dt="2022-06-02T08:57:16.835" v="6" actId="20577"/>
        <pc:sldMkLst>
          <pc:docMk/>
          <pc:sldMk cId="4040105006" sldId="1069"/>
        </pc:sldMkLst>
        <pc:spChg chg="mod">
          <ac:chgData name="Jovana Mladenovic" userId="68ad3ef0-87b3-4eb8-b350-097587589b84" providerId="ADAL" clId="{983993E0-1803-4FB1-84E0-169E58E429DA}" dt="2022-06-02T08:57:16.835" v="6" actId="20577"/>
          <ac:spMkLst>
            <pc:docMk/>
            <pc:sldMk cId="4040105006" sldId="1069"/>
            <ac:spMk id="3" creationId="{7B20ADE1-C66E-4679-9F31-35EB2AD5C90A}"/>
          </ac:spMkLst>
        </pc:spChg>
      </pc:sldChg>
      <pc:sldChg chg="modSp mod">
        <pc:chgData name="Jovana Mladenovic" userId="68ad3ef0-87b3-4eb8-b350-097587589b84" providerId="ADAL" clId="{983993E0-1803-4FB1-84E0-169E58E429DA}" dt="2022-06-03T07:45:28.125" v="1072" actId="6549"/>
        <pc:sldMkLst>
          <pc:docMk/>
          <pc:sldMk cId="282713152" sldId="1081"/>
        </pc:sldMkLst>
        <pc:spChg chg="mod">
          <ac:chgData name="Jovana Mladenovic" userId="68ad3ef0-87b3-4eb8-b350-097587589b84" providerId="ADAL" clId="{983993E0-1803-4FB1-84E0-169E58E429DA}" dt="2022-06-03T07:45:28.125" v="1072" actId="6549"/>
          <ac:spMkLst>
            <pc:docMk/>
            <pc:sldMk cId="282713152" sldId="1081"/>
            <ac:spMk id="18" creationId="{0F99F297-BDA2-43C9-9B22-D6A587715DE1}"/>
          </ac:spMkLst>
        </pc:spChg>
        <pc:graphicFrameChg chg="mod modGraphic">
          <ac:chgData name="Jovana Mladenovic" userId="68ad3ef0-87b3-4eb8-b350-097587589b84" providerId="ADAL" clId="{983993E0-1803-4FB1-84E0-169E58E429DA}" dt="2022-06-02T09:03:57.772" v="28"/>
          <ac:graphicFrameMkLst>
            <pc:docMk/>
            <pc:sldMk cId="282713152" sldId="1081"/>
            <ac:graphicFrameMk id="8" creationId="{975761D5-DFA6-4DCC-966B-BD7E3A573E0D}"/>
          </ac:graphicFrameMkLst>
        </pc:graphicFrameChg>
      </pc:sldChg>
      <pc:sldChg chg="modSp mod">
        <pc:chgData name="Jovana Mladenovic" userId="68ad3ef0-87b3-4eb8-b350-097587589b84" providerId="ADAL" clId="{983993E0-1803-4FB1-84E0-169E58E429DA}" dt="2022-06-03T07:24:01.256" v="1029" actId="20577"/>
        <pc:sldMkLst>
          <pc:docMk/>
          <pc:sldMk cId="3764823436" sldId="1084"/>
        </pc:sldMkLst>
        <pc:spChg chg="mod">
          <ac:chgData name="Jovana Mladenovic" userId="68ad3ef0-87b3-4eb8-b350-097587589b84" providerId="ADAL" clId="{983993E0-1803-4FB1-84E0-169E58E429DA}" dt="2022-06-03T07:24:01.256" v="1029" actId="20577"/>
          <ac:spMkLst>
            <pc:docMk/>
            <pc:sldMk cId="3764823436" sldId="1084"/>
            <ac:spMk id="17" creationId="{ADC961B4-B59A-4836-812F-EF8E26AC2889}"/>
          </ac:spMkLst>
        </pc:spChg>
        <pc:graphicFrameChg chg="mod modGraphic">
          <ac:chgData name="Jovana Mladenovic" userId="68ad3ef0-87b3-4eb8-b350-097587589b84" providerId="ADAL" clId="{983993E0-1803-4FB1-84E0-169E58E429DA}" dt="2022-06-03T07:01:09.121" v="674"/>
          <ac:graphicFrameMkLst>
            <pc:docMk/>
            <pc:sldMk cId="3764823436" sldId="1084"/>
            <ac:graphicFrameMk id="8" creationId="{975761D5-DFA6-4DCC-966B-BD7E3A573E0D}"/>
          </ac:graphicFrameMkLst>
        </pc:graphicFrameChg>
      </pc:sldChg>
      <pc:sldChg chg="modSp mod">
        <pc:chgData name="Jovana Mladenovic" userId="68ad3ef0-87b3-4eb8-b350-097587589b84" providerId="ADAL" clId="{983993E0-1803-4FB1-84E0-169E58E429DA}" dt="2022-06-03T07:24:12.412" v="1043" actId="20577"/>
        <pc:sldMkLst>
          <pc:docMk/>
          <pc:sldMk cId="2061379642" sldId="1085"/>
        </pc:sldMkLst>
        <pc:spChg chg="mod">
          <ac:chgData name="Jovana Mladenovic" userId="68ad3ef0-87b3-4eb8-b350-097587589b84" providerId="ADAL" clId="{983993E0-1803-4FB1-84E0-169E58E429DA}" dt="2022-06-03T07:24:12.412" v="1043" actId="20577"/>
          <ac:spMkLst>
            <pc:docMk/>
            <pc:sldMk cId="2061379642" sldId="1085"/>
            <ac:spMk id="18" creationId="{0F99F297-BDA2-43C9-9B22-D6A587715DE1}"/>
          </ac:spMkLst>
        </pc:spChg>
        <pc:graphicFrameChg chg="mod modGraphic">
          <ac:chgData name="Jovana Mladenovic" userId="68ad3ef0-87b3-4eb8-b350-097587589b84" providerId="ADAL" clId="{983993E0-1803-4FB1-84E0-169E58E429DA}" dt="2022-06-03T07:01:17.540" v="678" actId="242"/>
          <ac:graphicFrameMkLst>
            <pc:docMk/>
            <pc:sldMk cId="2061379642" sldId="1085"/>
            <ac:graphicFrameMk id="8" creationId="{975761D5-DFA6-4DCC-966B-BD7E3A573E0D}"/>
          </ac:graphicFrameMkLst>
        </pc:graphicFrameChg>
      </pc:sldChg>
      <pc:sldChg chg="modSp mod">
        <pc:chgData name="Jovana Mladenovic" userId="68ad3ef0-87b3-4eb8-b350-097587589b84" providerId="ADAL" clId="{983993E0-1803-4FB1-84E0-169E58E429DA}" dt="2022-06-03T07:45:11.083" v="1060" actId="20577"/>
        <pc:sldMkLst>
          <pc:docMk/>
          <pc:sldMk cId="1242722526" sldId="1089"/>
        </pc:sldMkLst>
        <pc:spChg chg="mod">
          <ac:chgData name="Jovana Mladenovic" userId="68ad3ef0-87b3-4eb8-b350-097587589b84" providerId="ADAL" clId="{983993E0-1803-4FB1-84E0-169E58E429DA}" dt="2022-06-03T07:45:11.083" v="1060" actId="20577"/>
          <ac:spMkLst>
            <pc:docMk/>
            <pc:sldMk cId="1242722526" sldId="1089"/>
            <ac:spMk id="17" creationId="{ADC961B4-B59A-4836-812F-EF8E26AC2889}"/>
          </ac:spMkLst>
        </pc:spChg>
        <pc:graphicFrameChg chg="mod modGraphic">
          <ac:chgData name="Jovana Mladenovic" userId="68ad3ef0-87b3-4eb8-b350-097587589b84" providerId="ADAL" clId="{983993E0-1803-4FB1-84E0-169E58E429DA}" dt="2022-06-02T09:03:47.221" v="25"/>
          <ac:graphicFrameMkLst>
            <pc:docMk/>
            <pc:sldMk cId="1242722526" sldId="1089"/>
            <ac:graphicFrameMk id="8" creationId="{975761D5-DFA6-4DCC-966B-BD7E3A573E0D}"/>
          </ac:graphicFrameMkLst>
        </pc:graphicFrameChg>
      </pc:sldChg>
      <pc:sldChg chg="modSp mod">
        <pc:chgData name="Jovana Mladenovic" userId="68ad3ef0-87b3-4eb8-b350-097587589b84" providerId="ADAL" clId="{983993E0-1803-4FB1-84E0-169E58E429DA}" dt="2022-06-02T13:58:28.166" v="589" actId="27918"/>
        <pc:sldMkLst>
          <pc:docMk/>
          <pc:sldMk cId="179518184" sldId="1095"/>
        </pc:sldMkLst>
        <pc:graphicFrameChg chg="mod modGraphic">
          <ac:chgData name="Jovana Mladenovic" userId="68ad3ef0-87b3-4eb8-b350-097587589b84" providerId="ADAL" clId="{983993E0-1803-4FB1-84E0-169E58E429DA}" dt="2022-06-02T13:54:22.001" v="564" actId="242"/>
          <ac:graphicFrameMkLst>
            <pc:docMk/>
            <pc:sldMk cId="179518184" sldId="1095"/>
            <ac:graphicFrameMk id="8" creationId="{975761D5-DFA6-4DCC-966B-BD7E3A573E0D}"/>
          </ac:graphicFrameMkLst>
        </pc:graphicFrameChg>
      </pc:sldChg>
      <pc:sldChg chg="modSp mod">
        <pc:chgData name="Jovana Mladenovic" userId="68ad3ef0-87b3-4eb8-b350-097587589b84" providerId="ADAL" clId="{983993E0-1803-4FB1-84E0-169E58E429DA}" dt="2022-06-03T07:22:37.002" v="1020" actId="27918"/>
        <pc:sldMkLst>
          <pc:docMk/>
          <pc:sldMk cId="3952489400" sldId="1098"/>
        </pc:sldMkLst>
        <pc:graphicFrameChg chg="mod modGraphic">
          <ac:chgData name="Jovana Mladenovic" userId="68ad3ef0-87b3-4eb8-b350-097587589b84" providerId="ADAL" clId="{983993E0-1803-4FB1-84E0-169E58E429DA}" dt="2022-06-03T07:21:35.910" v="1011" actId="1036"/>
          <ac:graphicFrameMkLst>
            <pc:docMk/>
            <pc:sldMk cId="3952489400" sldId="1098"/>
            <ac:graphicFrameMk id="8" creationId="{975761D5-DFA6-4DCC-966B-BD7E3A573E0D}"/>
          </ac:graphicFrameMkLst>
        </pc:graphicFrameChg>
      </pc:sldChg>
      <pc:sldChg chg="modSp mod">
        <pc:chgData name="Jovana Mladenovic" userId="68ad3ef0-87b3-4eb8-b350-097587589b84" providerId="ADAL" clId="{983993E0-1803-4FB1-84E0-169E58E429DA}" dt="2022-06-03T07:10:28.954" v="750"/>
        <pc:sldMkLst>
          <pc:docMk/>
          <pc:sldMk cId="592512221" sldId="1099"/>
        </pc:sldMkLst>
        <pc:graphicFrameChg chg="mod modGraphic">
          <ac:chgData name="Jovana Mladenovic" userId="68ad3ef0-87b3-4eb8-b350-097587589b84" providerId="ADAL" clId="{983993E0-1803-4FB1-84E0-169E58E429DA}" dt="2022-06-03T07:10:28.954" v="750"/>
          <ac:graphicFrameMkLst>
            <pc:docMk/>
            <pc:sldMk cId="592512221" sldId="1099"/>
            <ac:graphicFrameMk id="8" creationId="{975761D5-DFA6-4DCC-966B-BD7E3A573E0D}"/>
          </ac:graphicFrameMkLst>
        </pc:graphicFrameChg>
      </pc:sldChg>
      <pc:sldChg chg="modSp mod">
        <pc:chgData name="Jovana Mladenovic" userId="68ad3ef0-87b3-4eb8-b350-097587589b84" providerId="ADAL" clId="{983993E0-1803-4FB1-84E0-169E58E429DA}" dt="2022-06-03T07:23:19.216" v="1021" actId="20577"/>
        <pc:sldMkLst>
          <pc:docMk/>
          <pc:sldMk cId="3330967287" sldId="1100"/>
        </pc:sldMkLst>
        <pc:spChg chg="mod">
          <ac:chgData name="Jovana Mladenovic" userId="68ad3ef0-87b3-4eb8-b350-097587589b84" providerId="ADAL" clId="{983993E0-1803-4FB1-84E0-169E58E429DA}" dt="2022-06-02T12:28:19.579" v="416" actId="1076"/>
          <ac:spMkLst>
            <pc:docMk/>
            <pc:sldMk cId="3330967287" sldId="1100"/>
            <ac:spMk id="2" creationId="{690F0BC9-FFC5-4432-870F-DB42D0546F33}"/>
          </ac:spMkLst>
        </pc:spChg>
        <pc:graphicFrameChg chg="mod">
          <ac:chgData name="Jovana Mladenovic" userId="68ad3ef0-87b3-4eb8-b350-097587589b84" providerId="ADAL" clId="{983993E0-1803-4FB1-84E0-169E58E429DA}" dt="2022-06-02T12:19:06.180" v="358" actId="1036"/>
          <ac:graphicFrameMkLst>
            <pc:docMk/>
            <pc:sldMk cId="3330967287" sldId="1100"/>
            <ac:graphicFrameMk id="6" creationId="{FA4AA757-2245-4D7E-9967-CB23D886516D}"/>
          </ac:graphicFrameMkLst>
        </pc:graphicFrameChg>
        <pc:graphicFrameChg chg="mod modGraphic">
          <ac:chgData name="Jovana Mladenovic" userId="68ad3ef0-87b3-4eb8-b350-097587589b84" providerId="ADAL" clId="{983993E0-1803-4FB1-84E0-169E58E429DA}" dt="2022-06-03T07:23:19.216" v="1021" actId="20577"/>
          <ac:graphicFrameMkLst>
            <pc:docMk/>
            <pc:sldMk cId="3330967287" sldId="1100"/>
            <ac:graphicFrameMk id="8" creationId="{975761D5-DFA6-4DCC-966B-BD7E3A573E0D}"/>
          </ac:graphicFrameMkLst>
        </pc:graphicFrameChg>
        <pc:graphicFrameChg chg="mod">
          <ac:chgData name="Jovana Mladenovic" userId="68ad3ef0-87b3-4eb8-b350-097587589b84" providerId="ADAL" clId="{983993E0-1803-4FB1-84E0-169E58E429DA}" dt="2022-06-02T12:18:55.711" v="353" actId="1036"/>
          <ac:graphicFrameMkLst>
            <pc:docMk/>
            <pc:sldMk cId="3330967287" sldId="1100"/>
            <ac:graphicFrameMk id="9" creationId="{3781C6FF-03C0-4664-8D70-76A31B0B2815}"/>
          </ac:graphicFrameMkLst>
        </pc:graphicFrameChg>
        <pc:graphicFrameChg chg="mod">
          <ac:chgData name="Jovana Mladenovic" userId="68ad3ef0-87b3-4eb8-b350-097587589b84" providerId="ADAL" clId="{983993E0-1803-4FB1-84E0-169E58E429DA}" dt="2022-06-02T12:18:54.247" v="351" actId="1036"/>
          <ac:graphicFrameMkLst>
            <pc:docMk/>
            <pc:sldMk cId="3330967287" sldId="1100"/>
            <ac:graphicFrameMk id="12" creationId="{F85A016E-91E4-4FA9-AC6E-4FF73820641B}"/>
          </ac:graphicFrameMkLst>
        </pc:graphicFrameChg>
      </pc:sldChg>
      <pc:sldChg chg="modSp mod">
        <pc:chgData name="Jovana Mladenovic" userId="68ad3ef0-87b3-4eb8-b350-097587589b84" providerId="ADAL" clId="{983993E0-1803-4FB1-84E0-169E58E429DA}" dt="2022-06-03T07:42:04.061" v="1053" actId="27918"/>
        <pc:sldMkLst>
          <pc:docMk/>
          <pc:sldMk cId="2144003466" sldId="1101"/>
        </pc:sldMkLst>
        <pc:spChg chg="mod">
          <ac:chgData name="Jovana Mladenovic" userId="68ad3ef0-87b3-4eb8-b350-097587589b84" providerId="ADAL" clId="{983993E0-1803-4FB1-84E0-169E58E429DA}" dt="2022-06-02T09:12:19.244" v="50" actId="20577"/>
          <ac:spMkLst>
            <pc:docMk/>
            <pc:sldMk cId="2144003466" sldId="1101"/>
            <ac:spMk id="18" creationId="{0F99F297-BDA2-43C9-9B22-D6A587715DE1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A$1:$B$1</c:f>
              <c:strCache>
                <c:ptCount val="1"/>
                <c:pt idx="0">
                  <c:v>  Spalte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842-4835-918D-7D6E82709EE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842-4835-918D-7D6E82709EEF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0842-4835-918D-7D6E82709EEF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0842-4835-918D-7D6E82709EEF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0842-4835-918D-7D6E82709EEF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0842-4835-918D-7D6E82709EEF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0842-4835-918D-7D6E82709EEF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0842-4835-918D-7D6E82709EEF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0842-4835-918D-7D6E82709EEF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0842-4835-918D-7D6E82709EE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6</c:f>
              <c:strCache>
                <c:ptCount val="15"/>
                <c:pt idx="0">
                  <c:v>HRT1</c:v>
                </c:pt>
                <c:pt idx="1">
                  <c:v>Nova TV</c:v>
                </c:pt>
                <c:pt idx="2">
                  <c:v>RTL Televizija</c:v>
                </c:pt>
                <c:pt idx="3">
                  <c:v>HRT2</c:v>
                </c:pt>
                <c:pt idx="4">
                  <c:v>Doma TV</c:v>
                </c:pt>
                <c:pt idx="5">
                  <c:v>RTL2</c:v>
                </c:pt>
                <c:pt idx="6">
                  <c:v>Nickelodeon</c:v>
                </c:pt>
                <c:pt idx="7">
                  <c:v>HRT4</c:v>
                </c:pt>
                <c:pt idx="8">
                  <c:v>Arena Sport 1</c:v>
                </c:pt>
                <c:pt idx="9">
                  <c:v>RTL Kockica</c:v>
                </c:pt>
                <c:pt idx="10">
                  <c:v>FOX</c:v>
                </c:pt>
                <c:pt idx="11">
                  <c:v>Nick Jr (HR)</c:v>
                </c:pt>
                <c:pt idx="12">
                  <c:v>National Geographic</c:v>
                </c:pt>
                <c:pt idx="13">
                  <c:v>HRT3</c:v>
                </c:pt>
                <c:pt idx="14">
                  <c:v>CineStar TV1</c:v>
                </c:pt>
              </c:strCache>
            </c:str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17100000000000001</c:v>
                </c:pt>
                <c:pt idx="1">
                  <c:v>0.13300000000000001</c:v>
                </c:pt>
                <c:pt idx="2">
                  <c:v>0.105</c:v>
                </c:pt>
                <c:pt idx="3">
                  <c:v>8.1000000000000003E-2</c:v>
                </c:pt>
                <c:pt idx="4">
                  <c:v>4.9000000000000002E-2</c:v>
                </c:pt>
                <c:pt idx="5">
                  <c:v>4.2999999999999997E-2</c:v>
                </c:pt>
                <c:pt idx="6">
                  <c:v>3.1E-2</c:v>
                </c:pt>
                <c:pt idx="7">
                  <c:v>2.9000000000000001E-2</c:v>
                </c:pt>
                <c:pt idx="8">
                  <c:v>2.1999999999999999E-2</c:v>
                </c:pt>
                <c:pt idx="9">
                  <c:v>1.4E-2</c:v>
                </c:pt>
                <c:pt idx="10">
                  <c:v>1.2999999999999999E-2</c:v>
                </c:pt>
                <c:pt idx="11">
                  <c:v>1.2E-2</c:v>
                </c:pt>
                <c:pt idx="12">
                  <c:v>1.2E-2</c:v>
                </c:pt>
                <c:pt idx="13">
                  <c:v>1.2E-2</c:v>
                </c:pt>
                <c:pt idx="14">
                  <c:v>1.09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0842-4835-918D-7D6E82709E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24000000000000002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842-4835-918D-7D6E82709EE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842-4835-918D-7D6E82709EEF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0842-4835-918D-7D6E82709EEF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0842-4835-918D-7D6E82709EEF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0842-4835-918D-7D6E82709EEF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0842-4835-918D-7D6E82709EEF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0842-4835-918D-7D6E82709EEF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0842-4835-918D-7D6E82709EEF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0842-4835-918D-7D6E82709EEF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0842-4835-918D-7D6E82709EEF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0%</c:formatCode>
                <c:ptCount val="15"/>
                <c:pt idx="0">
                  <c:v>0.13700000000000001</c:v>
                </c:pt>
                <c:pt idx="1">
                  <c:v>7.0000000000000007E-2</c:v>
                </c:pt>
                <c:pt idx="2">
                  <c:v>4.8000000000000001E-2</c:v>
                </c:pt>
                <c:pt idx="3">
                  <c:v>4.7E-2</c:v>
                </c:pt>
                <c:pt idx="4">
                  <c:v>4.5999999999999999E-2</c:v>
                </c:pt>
                <c:pt idx="5">
                  <c:v>4.3999999999999997E-2</c:v>
                </c:pt>
                <c:pt idx="6">
                  <c:v>0.04</c:v>
                </c:pt>
                <c:pt idx="7">
                  <c:v>0.04</c:v>
                </c:pt>
                <c:pt idx="8">
                  <c:v>3.9E-2</c:v>
                </c:pt>
                <c:pt idx="9">
                  <c:v>3.7999999999999999E-2</c:v>
                </c:pt>
                <c:pt idx="10">
                  <c:v>3.5000000000000003E-2</c:v>
                </c:pt>
                <c:pt idx="11">
                  <c:v>3.3000000000000002E-2</c:v>
                </c:pt>
                <c:pt idx="12">
                  <c:v>3.2000000000000001E-2</c:v>
                </c:pt>
                <c:pt idx="13">
                  <c:v>3.1E-2</c:v>
                </c:pt>
                <c:pt idx="14">
                  <c:v>3.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0842-4835-918D-7D6E82709E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4"/>
          <c:min val="0"/>
        </c:scaling>
        <c:delete val="1"/>
        <c:axPos val="t"/>
        <c:numFmt formatCode="0.0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3546-4AF6-869E-699FD90EFA7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546-4AF6-869E-699FD90EFA75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3546-4AF6-869E-699FD90EFA75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546-4AF6-869E-699FD90EFA75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3546-4AF6-869E-699FD90EFA75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546-4AF6-869E-699FD90EFA75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3546-4AF6-869E-699FD90EFA75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546-4AF6-869E-699FD90EFA75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3546-4AF6-869E-699FD90EFA75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3546-4AF6-869E-699FD90EFA75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7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0%</c:formatCode>
                <c:ptCount val="15"/>
                <c:pt idx="0">
                  <c:v>0.22500000000000001</c:v>
                </c:pt>
                <c:pt idx="1">
                  <c:v>0.127</c:v>
                </c:pt>
                <c:pt idx="2">
                  <c:v>8.8999999999999996E-2</c:v>
                </c:pt>
                <c:pt idx="3">
                  <c:v>9.9000000000000005E-2</c:v>
                </c:pt>
                <c:pt idx="4">
                  <c:v>0.10100000000000001</c:v>
                </c:pt>
                <c:pt idx="5">
                  <c:v>7.6999999999999999E-2</c:v>
                </c:pt>
                <c:pt idx="6">
                  <c:v>7.5999999999999998E-2</c:v>
                </c:pt>
                <c:pt idx="7">
                  <c:v>0.06</c:v>
                </c:pt>
                <c:pt idx="8">
                  <c:v>0.10100000000000001</c:v>
                </c:pt>
                <c:pt idx="9">
                  <c:v>7.8E-2</c:v>
                </c:pt>
                <c:pt idx="10">
                  <c:v>8.2000000000000003E-2</c:v>
                </c:pt>
                <c:pt idx="11">
                  <c:v>8.7999999999999995E-2</c:v>
                </c:pt>
                <c:pt idx="12">
                  <c:v>9.5000000000000001E-2</c:v>
                </c:pt>
                <c:pt idx="13">
                  <c:v>8.7999999999999995E-2</c:v>
                </c:pt>
                <c:pt idx="14">
                  <c:v>9.900000000000000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546-4AF6-869E-699FD90EFA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9"/>
          <c:min val="0"/>
        </c:scaling>
        <c:delete val="1"/>
        <c:axPos val="t"/>
        <c:numFmt formatCode="0.0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9515-402B-869C-9A22CCDC03F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515-402B-869C-9A22CCDC03F7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9515-402B-869C-9A22CCDC03F7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9515-402B-869C-9A22CCDC03F7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9515-402B-869C-9A22CCDC03F7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9515-402B-869C-9A22CCDC03F7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9515-402B-869C-9A22CCDC03F7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9515-402B-869C-9A22CCDC03F7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9515-402B-869C-9A22CCDC03F7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9515-402B-869C-9A22CCDC03F7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0%</c:formatCode>
                <c:ptCount val="15"/>
                <c:pt idx="0">
                  <c:v>0.311</c:v>
                </c:pt>
                <c:pt idx="1">
                  <c:v>0.161</c:v>
                </c:pt>
                <c:pt idx="2">
                  <c:v>0.187</c:v>
                </c:pt>
                <c:pt idx="3">
                  <c:v>0.14799999999999999</c:v>
                </c:pt>
                <c:pt idx="4">
                  <c:v>0.112</c:v>
                </c:pt>
                <c:pt idx="5">
                  <c:v>0.108</c:v>
                </c:pt>
                <c:pt idx="6">
                  <c:v>0.154</c:v>
                </c:pt>
                <c:pt idx="7">
                  <c:v>0.182</c:v>
                </c:pt>
                <c:pt idx="8">
                  <c:v>0.11799999999999999</c:v>
                </c:pt>
                <c:pt idx="9">
                  <c:v>0.158</c:v>
                </c:pt>
                <c:pt idx="10">
                  <c:v>0.13300000000000001</c:v>
                </c:pt>
                <c:pt idx="11">
                  <c:v>0.104</c:v>
                </c:pt>
                <c:pt idx="12">
                  <c:v>9.7000000000000003E-2</c:v>
                </c:pt>
                <c:pt idx="13">
                  <c:v>0.10100000000000001</c:v>
                </c:pt>
                <c:pt idx="14">
                  <c:v>9.900000000000000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515-402B-869C-9A22CCDC03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1.1000000000000001"/>
          <c:min val="0"/>
        </c:scaling>
        <c:delete val="1"/>
        <c:axPos val="t"/>
        <c:numFmt formatCode="0.0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A$1:$B$1</c:f>
              <c:strCache>
                <c:ptCount val="1"/>
                <c:pt idx="0">
                  <c:v>  Spalte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842-4835-918D-7D6E82709EE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842-4835-918D-7D6E82709EEF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0842-4835-918D-7D6E82709EEF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0842-4835-918D-7D6E82709EEF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0842-4835-918D-7D6E82709EEF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0842-4835-918D-7D6E82709EEF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0842-4835-918D-7D6E82709EEF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0842-4835-918D-7D6E82709EEF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0842-4835-918D-7D6E82709EEF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0842-4835-918D-7D6E82709EE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6</c:f>
              <c:strCache>
                <c:ptCount val="15"/>
                <c:pt idx="0">
                  <c:v>Nova TV</c:v>
                </c:pt>
                <c:pt idx="1">
                  <c:v>RTL Televizija</c:v>
                </c:pt>
                <c:pt idx="2">
                  <c:v>HRT1</c:v>
                </c:pt>
                <c:pt idx="3">
                  <c:v>HRT2</c:v>
                </c:pt>
                <c:pt idx="4">
                  <c:v>Doma TV</c:v>
                </c:pt>
                <c:pt idx="5">
                  <c:v>RTL2</c:v>
                </c:pt>
                <c:pt idx="6">
                  <c:v>Arena Sport 1</c:v>
                </c:pt>
                <c:pt idx="7">
                  <c:v>Nickelodeon</c:v>
                </c:pt>
                <c:pt idx="8">
                  <c:v>RTL Kockica</c:v>
                </c:pt>
                <c:pt idx="9">
                  <c:v>Arena Sport 3</c:v>
                </c:pt>
                <c:pt idx="10">
                  <c:v>HRT3</c:v>
                </c:pt>
                <c:pt idx="11">
                  <c:v>Pickbox TV</c:v>
                </c:pt>
                <c:pt idx="12">
                  <c:v>CineStar TV1</c:v>
                </c:pt>
                <c:pt idx="13">
                  <c:v>HRT4</c:v>
                </c:pt>
                <c:pt idx="14">
                  <c:v>CineStar TV Action</c:v>
                </c:pt>
              </c:strCache>
            </c:str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157028</c:v>
                </c:pt>
                <c:pt idx="1">
                  <c:v>0.147815</c:v>
                </c:pt>
                <c:pt idx="2">
                  <c:v>0.147481</c:v>
                </c:pt>
                <c:pt idx="3">
                  <c:v>0.10022499999999999</c:v>
                </c:pt>
                <c:pt idx="4">
                  <c:v>4.9679000000000001E-2</c:v>
                </c:pt>
                <c:pt idx="5">
                  <c:v>4.2417000000000003E-2</c:v>
                </c:pt>
                <c:pt idx="6">
                  <c:v>3.0047999999999998E-2</c:v>
                </c:pt>
                <c:pt idx="7">
                  <c:v>1.7099E-2</c:v>
                </c:pt>
                <c:pt idx="8">
                  <c:v>1.6702999999999999E-2</c:v>
                </c:pt>
                <c:pt idx="9">
                  <c:v>1.3518000000000001E-2</c:v>
                </c:pt>
                <c:pt idx="10">
                  <c:v>1.1727E-2</c:v>
                </c:pt>
                <c:pt idx="11">
                  <c:v>1.1603E-2</c:v>
                </c:pt>
                <c:pt idx="12">
                  <c:v>1.0973E-2</c:v>
                </c:pt>
                <c:pt idx="13">
                  <c:v>1.0939000000000001E-2</c:v>
                </c:pt>
                <c:pt idx="14">
                  <c:v>1.050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0842-4835-918D-7D6E82709E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30000000000000004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3546-4AF6-869E-699FD90EFA7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546-4AF6-869E-699FD90EFA75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3546-4AF6-869E-699FD90EFA75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546-4AF6-869E-699FD90EFA75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3546-4AF6-869E-699FD90EFA75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546-4AF6-869E-699FD90EFA75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3546-4AF6-869E-699FD90EFA75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546-4AF6-869E-699FD90EFA75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3546-4AF6-869E-699FD90EFA75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3546-4AF6-869E-699FD90EFA7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6</c:f>
              <c:strCache>
                <c:ptCount val="15"/>
                <c:pt idx="0">
                  <c:v>Nova TV</c:v>
                </c:pt>
                <c:pt idx="1">
                  <c:v>RTL Televizija</c:v>
                </c:pt>
                <c:pt idx="2">
                  <c:v>HRT1</c:v>
                </c:pt>
                <c:pt idx="3">
                  <c:v>HRT2</c:v>
                </c:pt>
                <c:pt idx="4">
                  <c:v>Doma TV</c:v>
                </c:pt>
                <c:pt idx="5">
                  <c:v>RTL2</c:v>
                </c:pt>
                <c:pt idx="6">
                  <c:v>Arena Sport 1</c:v>
                </c:pt>
                <c:pt idx="7">
                  <c:v>Nickelodeon</c:v>
                </c:pt>
                <c:pt idx="8">
                  <c:v>RTL Kockica</c:v>
                </c:pt>
                <c:pt idx="9">
                  <c:v>Arena Sport 3</c:v>
                </c:pt>
                <c:pt idx="10">
                  <c:v>HRT3</c:v>
                </c:pt>
                <c:pt idx="11">
                  <c:v>Pickbox TV</c:v>
                </c:pt>
                <c:pt idx="12">
                  <c:v>CineStar TV1</c:v>
                </c:pt>
                <c:pt idx="13">
                  <c:v>HRT4</c:v>
                </c:pt>
                <c:pt idx="14">
                  <c:v>CineStar TV Action</c:v>
                </c:pt>
              </c:strCache>
            </c:strRef>
          </c:cat>
          <c:val>
            <c:numRef>
              <c:f>Tabelle1!$B$2:$B$16</c:f>
              <c:numCache>
                <c:formatCode>0.0%</c:formatCode>
                <c:ptCount val="15"/>
                <c:pt idx="0">
                  <c:v>5.3131999999999999E-2</c:v>
                </c:pt>
                <c:pt idx="1">
                  <c:v>5.0014000000000003E-2</c:v>
                </c:pt>
                <c:pt idx="2">
                  <c:v>4.9901000000000001E-2</c:v>
                </c:pt>
                <c:pt idx="3">
                  <c:v>3.3911999999999998E-2</c:v>
                </c:pt>
                <c:pt idx="4">
                  <c:v>1.6809000000000001E-2</c:v>
                </c:pt>
                <c:pt idx="5">
                  <c:v>1.4352E-2</c:v>
                </c:pt>
                <c:pt idx="6">
                  <c:v>1.0167000000000001E-2</c:v>
                </c:pt>
                <c:pt idx="7">
                  <c:v>5.7860000000000003E-3</c:v>
                </c:pt>
                <c:pt idx="8">
                  <c:v>5.6519999999999999E-3</c:v>
                </c:pt>
                <c:pt idx="9">
                  <c:v>4.5739999999999999E-3</c:v>
                </c:pt>
                <c:pt idx="10">
                  <c:v>3.9680000000000002E-3</c:v>
                </c:pt>
                <c:pt idx="11">
                  <c:v>3.9259999999999998E-3</c:v>
                </c:pt>
                <c:pt idx="12">
                  <c:v>3.7130000000000002E-3</c:v>
                </c:pt>
                <c:pt idx="13">
                  <c:v>3.7009999999999999E-3</c:v>
                </c:pt>
                <c:pt idx="14">
                  <c:v>3.5539999999999999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546-4AF6-869E-699FD90EFA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1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9515-402B-869C-9A22CCDC03F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515-402B-869C-9A22CCDC03F7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9515-402B-869C-9A22CCDC03F7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9515-402B-869C-9A22CCDC03F7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9515-402B-869C-9A22CCDC03F7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9515-402B-869C-9A22CCDC03F7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9515-402B-869C-9A22CCDC03F7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9515-402B-869C-9A22CCDC03F7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9515-402B-869C-9A22CCDC03F7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9515-402B-869C-9A22CCDC03F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6</c:f>
              <c:strCache>
                <c:ptCount val="15"/>
                <c:pt idx="0">
                  <c:v>Nova TV</c:v>
                </c:pt>
                <c:pt idx="1">
                  <c:v>RTL Televizija</c:v>
                </c:pt>
                <c:pt idx="2">
                  <c:v>HRT1</c:v>
                </c:pt>
                <c:pt idx="3">
                  <c:v>HRT2</c:v>
                </c:pt>
                <c:pt idx="4">
                  <c:v>Doma TV</c:v>
                </c:pt>
                <c:pt idx="5">
                  <c:v>RTL2</c:v>
                </c:pt>
                <c:pt idx="6">
                  <c:v>Arena Sport 1</c:v>
                </c:pt>
                <c:pt idx="7">
                  <c:v>Nickelodeon</c:v>
                </c:pt>
                <c:pt idx="8">
                  <c:v>RTL Kockica</c:v>
                </c:pt>
                <c:pt idx="9">
                  <c:v>Arena Sport 3</c:v>
                </c:pt>
                <c:pt idx="10">
                  <c:v>HRT3</c:v>
                </c:pt>
                <c:pt idx="11">
                  <c:v>Pickbox TV</c:v>
                </c:pt>
                <c:pt idx="12">
                  <c:v>CineStar TV1</c:v>
                </c:pt>
                <c:pt idx="13">
                  <c:v>HRT4</c:v>
                </c:pt>
                <c:pt idx="14">
                  <c:v>CineStar TV Action</c:v>
                </c:pt>
              </c:strCache>
            </c:str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78090000000000004</c:v>
                </c:pt>
                <c:pt idx="1">
                  <c:v>0.79400000000000004</c:v>
                </c:pt>
                <c:pt idx="2">
                  <c:v>0.78820000000000001</c:v>
                </c:pt>
                <c:pt idx="3">
                  <c:v>0.77370000000000005</c:v>
                </c:pt>
                <c:pt idx="4">
                  <c:v>0.65080000000000005</c:v>
                </c:pt>
                <c:pt idx="5">
                  <c:v>0.68110000000000004</c:v>
                </c:pt>
                <c:pt idx="6">
                  <c:v>0.45240000000000002</c:v>
                </c:pt>
                <c:pt idx="7">
                  <c:v>0.2031</c:v>
                </c:pt>
                <c:pt idx="8">
                  <c:v>0.43890000000000001</c:v>
                </c:pt>
                <c:pt idx="9">
                  <c:v>0.38290000000000002</c:v>
                </c:pt>
                <c:pt idx="10">
                  <c:v>0.60299999999999998</c:v>
                </c:pt>
                <c:pt idx="11">
                  <c:v>0.37709999999999999</c:v>
                </c:pt>
                <c:pt idx="12">
                  <c:v>0.51419999999999999</c:v>
                </c:pt>
                <c:pt idx="13">
                  <c:v>0.52490000000000003</c:v>
                </c:pt>
                <c:pt idx="14">
                  <c:v>0.4566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515-402B-869C-9A22CCDC03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1.2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842-4835-918D-7D6E82709EE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842-4835-918D-7D6E82709EEF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0842-4835-918D-7D6E82709EEF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0842-4835-918D-7D6E82709EEF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0842-4835-918D-7D6E82709EEF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0842-4835-918D-7D6E82709EEF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0842-4835-918D-7D6E82709EEF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0842-4835-918D-7D6E82709EEF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0842-4835-918D-7D6E82709EEF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0842-4835-918D-7D6E82709EE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6</c:f>
              <c:strCache>
                <c:ptCount val="15"/>
                <c:pt idx="0">
                  <c:v>Arena Sport 1</c:v>
                </c:pt>
                <c:pt idx="1">
                  <c:v>Nickelodeon</c:v>
                </c:pt>
                <c:pt idx="2">
                  <c:v>Arena Sport 3</c:v>
                </c:pt>
                <c:pt idx="3">
                  <c:v>Pickbox TV</c:v>
                </c:pt>
                <c:pt idx="4">
                  <c:v>CineStar TV1</c:v>
                </c:pt>
                <c:pt idx="5">
                  <c:v>CineStar TV Action</c:v>
                </c:pt>
                <c:pt idx="6">
                  <c:v>Nick Jr (HR)</c:v>
                </c:pt>
                <c:pt idx="7">
                  <c:v>FOX Movies</c:v>
                </c:pt>
                <c:pt idx="8">
                  <c:v>FOX</c:v>
                </c:pt>
                <c:pt idx="9">
                  <c:v>FOX Crime</c:v>
                </c:pt>
                <c:pt idx="10">
                  <c:v>HBO 3</c:v>
                </c:pt>
                <c:pt idx="11">
                  <c:v>FOX Life</c:v>
                </c:pt>
                <c:pt idx="12">
                  <c:v>HBO</c:v>
                </c:pt>
                <c:pt idx="13">
                  <c:v>HBO 2</c:v>
                </c:pt>
                <c:pt idx="14">
                  <c:v>National Geographic</c:v>
                </c:pt>
              </c:strCache>
            </c:str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03</c:v>
                </c:pt>
                <c:pt idx="1">
                  <c:v>1.7000000000000001E-2</c:v>
                </c:pt>
                <c:pt idx="2">
                  <c:v>1.4E-2</c:v>
                </c:pt>
                <c:pt idx="3">
                  <c:v>1.2E-2</c:v>
                </c:pt>
                <c:pt idx="4">
                  <c:v>1.0999999999999999E-2</c:v>
                </c:pt>
                <c:pt idx="5">
                  <c:v>1.0999999999999999E-2</c:v>
                </c:pt>
                <c:pt idx="6">
                  <c:v>8.9999999999999993E-3</c:v>
                </c:pt>
                <c:pt idx="7">
                  <c:v>8.0000000000000002E-3</c:v>
                </c:pt>
                <c:pt idx="8">
                  <c:v>8.0000000000000002E-3</c:v>
                </c:pt>
                <c:pt idx="9">
                  <c:v>7.0000000000000001E-3</c:v>
                </c:pt>
                <c:pt idx="10">
                  <c:v>7.0000000000000001E-3</c:v>
                </c:pt>
                <c:pt idx="11">
                  <c:v>7.0000000000000001E-3</c:v>
                </c:pt>
                <c:pt idx="12">
                  <c:v>7.0000000000000001E-3</c:v>
                </c:pt>
                <c:pt idx="13">
                  <c:v>7.0000000000000001E-3</c:v>
                </c:pt>
                <c:pt idx="14">
                  <c:v>6.000000000000000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0842-4835-918D-7D6E82709E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24000000000000002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3546-4AF6-869E-699FD90EFA7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546-4AF6-869E-699FD90EFA75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3546-4AF6-869E-699FD90EFA75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546-4AF6-869E-699FD90EFA75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3546-4AF6-869E-699FD90EFA75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546-4AF6-869E-699FD90EFA75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3546-4AF6-869E-699FD90EFA75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546-4AF6-869E-699FD90EFA75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3546-4AF6-869E-699FD90EFA75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3546-4AF6-869E-699FD90EFA7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6</c:f>
              <c:strCache>
                <c:ptCount val="15"/>
                <c:pt idx="0">
                  <c:v>Arena Sport 1</c:v>
                </c:pt>
                <c:pt idx="1">
                  <c:v>Nickelodeon</c:v>
                </c:pt>
                <c:pt idx="2">
                  <c:v>Arena Sport 3</c:v>
                </c:pt>
                <c:pt idx="3">
                  <c:v>Pickbox TV</c:v>
                </c:pt>
                <c:pt idx="4">
                  <c:v>CineStar TV1</c:v>
                </c:pt>
                <c:pt idx="5">
                  <c:v>CineStar TV Action</c:v>
                </c:pt>
                <c:pt idx="6">
                  <c:v>Nick Jr (HR)</c:v>
                </c:pt>
                <c:pt idx="7">
                  <c:v>FOX Movies</c:v>
                </c:pt>
                <c:pt idx="8">
                  <c:v>FOX</c:v>
                </c:pt>
                <c:pt idx="9">
                  <c:v>FOX Crime</c:v>
                </c:pt>
                <c:pt idx="10">
                  <c:v>HBO 3</c:v>
                </c:pt>
                <c:pt idx="11">
                  <c:v>FOX Life</c:v>
                </c:pt>
                <c:pt idx="12">
                  <c:v>HBO</c:v>
                </c:pt>
                <c:pt idx="13">
                  <c:v>HBO 2</c:v>
                </c:pt>
                <c:pt idx="14">
                  <c:v>National Geographic</c:v>
                </c:pt>
              </c:strCache>
            </c:str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01</c:v>
                </c:pt>
                <c:pt idx="1">
                  <c:v>6.0000000000000001E-3</c:v>
                </c:pt>
                <c:pt idx="2">
                  <c:v>5.0000000000000001E-3</c:v>
                </c:pt>
                <c:pt idx="3">
                  <c:v>4.0000000000000001E-3</c:v>
                </c:pt>
                <c:pt idx="4">
                  <c:v>4.0000000000000001E-3</c:v>
                </c:pt>
                <c:pt idx="5">
                  <c:v>4.0000000000000001E-3</c:v>
                </c:pt>
                <c:pt idx="6">
                  <c:v>3.0000000000000001E-3</c:v>
                </c:pt>
                <c:pt idx="7">
                  <c:v>3.0000000000000001E-3</c:v>
                </c:pt>
                <c:pt idx="8">
                  <c:v>3.0000000000000001E-3</c:v>
                </c:pt>
                <c:pt idx="9">
                  <c:v>2E-3</c:v>
                </c:pt>
                <c:pt idx="10">
                  <c:v>2E-3</c:v>
                </c:pt>
                <c:pt idx="11">
                  <c:v>2E-3</c:v>
                </c:pt>
                <c:pt idx="12">
                  <c:v>2E-3</c:v>
                </c:pt>
                <c:pt idx="13">
                  <c:v>2E-3</c:v>
                </c:pt>
                <c:pt idx="14">
                  <c:v>2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546-4AF6-869E-699FD90EFA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1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9515-402B-869C-9A22CCDC03F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515-402B-869C-9A22CCDC03F7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9515-402B-869C-9A22CCDC03F7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9515-402B-869C-9A22CCDC03F7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9515-402B-869C-9A22CCDC03F7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9515-402B-869C-9A22CCDC03F7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9515-402B-869C-9A22CCDC03F7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9515-402B-869C-9A22CCDC03F7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9515-402B-869C-9A22CCDC03F7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9515-402B-869C-9A22CCDC03F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6</c:f>
              <c:strCache>
                <c:ptCount val="15"/>
                <c:pt idx="0">
                  <c:v>Arena Sport 1</c:v>
                </c:pt>
                <c:pt idx="1">
                  <c:v>Nickelodeon</c:v>
                </c:pt>
                <c:pt idx="2">
                  <c:v>Arena Sport 3</c:v>
                </c:pt>
                <c:pt idx="3">
                  <c:v>Pickbox TV</c:v>
                </c:pt>
                <c:pt idx="4">
                  <c:v>CineStar TV1</c:v>
                </c:pt>
                <c:pt idx="5">
                  <c:v>CineStar TV Action</c:v>
                </c:pt>
                <c:pt idx="6">
                  <c:v>Nick Jr (HR)</c:v>
                </c:pt>
                <c:pt idx="7">
                  <c:v>FOX Movies</c:v>
                </c:pt>
                <c:pt idx="8">
                  <c:v>FOX</c:v>
                </c:pt>
                <c:pt idx="9">
                  <c:v>FOX Crime</c:v>
                </c:pt>
                <c:pt idx="10">
                  <c:v>HBO 3</c:v>
                </c:pt>
                <c:pt idx="11">
                  <c:v>FOX Life</c:v>
                </c:pt>
                <c:pt idx="12">
                  <c:v>HBO</c:v>
                </c:pt>
                <c:pt idx="13">
                  <c:v>HBO 2</c:v>
                </c:pt>
                <c:pt idx="14">
                  <c:v>National Geographic</c:v>
                </c:pt>
              </c:strCache>
            </c:str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45200000000000001</c:v>
                </c:pt>
                <c:pt idx="1">
                  <c:v>0.20300000000000001</c:v>
                </c:pt>
                <c:pt idx="2">
                  <c:v>0.38300000000000001</c:v>
                </c:pt>
                <c:pt idx="3">
                  <c:v>0.377</c:v>
                </c:pt>
                <c:pt idx="4">
                  <c:v>0.51400000000000001</c:v>
                </c:pt>
                <c:pt idx="5">
                  <c:v>0.45700000000000002</c:v>
                </c:pt>
                <c:pt idx="6">
                  <c:v>0.13100000000000001</c:v>
                </c:pt>
                <c:pt idx="7">
                  <c:v>0.42799999999999999</c:v>
                </c:pt>
                <c:pt idx="8">
                  <c:v>0.42299999999999999</c:v>
                </c:pt>
                <c:pt idx="9">
                  <c:v>0.32500000000000001</c:v>
                </c:pt>
                <c:pt idx="10">
                  <c:v>0.26300000000000001</c:v>
                </c:pt>
                <c:pt idx="11">
                  <c:v>0.36499999999999999</c:v>
                </c:pt>
                <c:pt idx="12">
                  <c:v>0.307</c:v>
                </c:pt>
                <c:pt idx="13">
                  <c:v>0.27500000000000002</c:v>
                </c:pt>
                <c:pt idx="14">
                  <c:v>0.293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515-402B-869C-9A22CCDC03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1.2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842-4835-918D-7D6E82709EE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842-4835-918D-7D6E82709EEF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0842-4835-918D-7D6E82709EEF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0842-4835-918D-7D6E82709EEF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0842-4835-918D-7D6E82709EEF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0842-4835-918D-7D6E82709EEF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0842-4835-918D-7D6E82709EEF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0842-4835-918D-7D6E82709EEF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0842-4835-918D-7D6E82709EEF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0842-4835-918D-7D6E82709EEF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20018899999999998</c:v>
                </c:pt>
                <c:pt idx="1">
                  <c:v>0.17938899999999999</c:v>
                </c:pt>
                <c:pt idx="2">
                  <c:v>0.17540500000000001</c:v>
                </c:pt>
                <c:pt idx="3">
                  <c:v>0.137124</c:v>
                </c:pt>
                <c:pt idx="4">
                  <c:v>9.2126E-2</c:v>
                </c:pt>
                <c:pt idx="5">
                  <c:v>9.0538000000000007E-2</c:v>
                </c:pt>
                <c:pt idx="6">
                  <c:v>8.8999999999999996E-2</c:v>
                </c:pt>
                <c:pt idx="7">
                  <c:v>8.7999999999999995E-2</c:v>
                </c:pt>
                <c:pt idx="8">
                  <c:v>8.4105000000000013E-2</c:v>
                </c:pt>
                <c:pt idx="9">
                  <c:v>7.9603000000000007E-2</c:v>
                </c:pt>
                <c:pt idx="10">
                  <c:v>7.8920000000000004E-2</c:v>
                </c:pt>
                <c:pt idx="11">
                  <c:v>7.3506000000000002E-2</c:v>
                </c:pt>
                <c:pt idx="12">
                  <c:v>7.0220000000000005E-2</c:v>
                </c:pt>
                <c:pt idx="13">
                  <c:v>6.9099999999999995E-2</c:v>
                </c:pt>
                <c:pt idx="14">
                  <c:v>6.700000000000000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0842-4835-918D-7D6E82709E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5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3546-4AF6-869E-699FD90EFA7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546-4AF6-869E-699FD90EFA75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3546-4AF6-869E-699FD90EFA75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546-4AF6-869E-699FD90EFA75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3546-4AF6-869E-699FD90EFA75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546-4AF6-869E-699FD90EFA75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3546-4AF6-869E-699FD90EFA75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546-4AF6-869E-699FD90EFA75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3546-4AF6-869E-699FD90EFA75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3546-4AF6-869E-699FD90EFA7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6</c:f>
              <c:strCache>
                <c:ptCount val="15"/>
                <c:pt idx="0">
                  <c:v>HRT1</c:v>
                </c:pt>
                <c:pt idx="1">
                  <c:v>Nova TV</c:v>
                </c:pt>
                <c:pt idx="2">
                  <c:v>RTL Televizija</c:v>
                </c:pt>
                <c:pt idx="3">
                  <c:v>HRT2</c:v>
                </c:pt>
                <c:pt idx="4">
                  <c:v>Doma TV</c:v>
                </c:pt>
                <c:pt idx="5">
                  <c:v>RTL2</c:v>
                </c:pt>
                <c:pt idx="6">
                  <c:v>Nickelodeon</c:v>
                </c:pt>
                <c:pt idx="7">
                  <c:v>HRT4</c:v>
                </c:pt>
                <c:pt idx="8">
                  <c:v>Arena Sport 1</c:v>
                </c:pt>
                <c:pt idx="9">
                  <c:v>RTL Kockica</c:v>
                </c:pt>
                <c:pt idx="10">
                  <c:v>FOX</c:v>
                </c:pt>
                <c:pt idx="11">
                  <c:v>Nick Jr (HR)</c:v>
                </c:pt>
                <c:pt idx="12">
                  <c:v>National Geographic</c:v>
                </c:pt>
                <c:pt idx="13">
                  <c:v>HRT3</c:v>
                </c:pt>
                <c:pt idx="14">
                  <c:v>CineStar TV1</c:v>
                </c:pt>
              </c:strCache>
            </c:str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03</c:v>
                </c:pt>
                <c:pt idx="1">
                  <c:v>2.4E-2</c:v>
                </c:pt>
                <c:pt idx="2">
                  <c:v>1.9E-2</c:v>
                </c:pt>
                <c:pt idx="3">
                  <c:v>1.4E-2</c:v>
                </c:pt>
                <c:pt idx="4">
                  <c:v>8.9999999999999993E-3</c:v>
                </c:pt>
                <c:pt idx="5">
                  <c:v>8.0000000000000002E-3</c:v>
                </c:pt>
                <c:pt idx="6">
                  <c:v>5.0000000000000001E-3</c:v>
                </c:pt>
                <c:pt idx="7">
                  <c:v>5.0000000000000001E-3</c:v>
                </c:pt>
                <c:pt idx="8">
                  <c:v>4.0000000000000001E-3</c:v>
                </c:pt>
                <c:pt idx="9">
                  <c:v>3.0000000000000001E-3</c:v>
                </c:pt>
                <c:pt idx="10">
                  <c:v>2E-3</c:v>
                </c:pt>
                <c:pt idx="11">
                  <c:v>2E-3</c:v>
                </c:pt>
                <c:pt idx="12">
                  <c:v>2E-3</c:v>
                </c:pt>
                <c:pt idx="13">
                  <c:v>2E-3</c:v>
                </c:pt>
                <c:pt idx="14">
                  <c:v>2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546-4AF6-869E-699FD90EFA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1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3546-4AF6-869E-699FD90EFA7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546-4AF6-869E-699FD90EFA75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3546-4AF6-869E-699FD90EFA75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546-4AF6-869E-699FD90EFA75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3546-4AF6-869E-699FD90EFA75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546-4AF6-869E-699FD90EFA75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3546-4AF6-869E-699FD90EFA75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546-4AF6-869E-699FD90EFA75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3546-4AF6-869E-699FD90EFA75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3546-4AF6-869E-699FD90EFA75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36495899999999998</c:v>
                </c:pt>
                <c:pt idx="1">
                  <c:v>0.36351899999999998</c:v>
                </c:pt>
                <c:pt idx="2">
                  <c:v>0.342584</c:v>
                </c:pt>
                <c:pt idx="3">
                  <c:v>0.225074</c:v>
                </c:pt>
                <c:pt idx="4">
                  <c:v>0.184999</c:v>
                </c:pt>
                <c:pt idx="5">
                  <c:v>0.13164000000000001</c:v>
                </c:pt>
                <c:pt idx="6">
                  <c:v>0.16800000000000001</c:v>
                </c:pt>
                <c:pt idx="7">
                  <c:v>0.23499999999999999</c:v>
                </c:pt>
                <c:pt idx="8">
                  <c:v>0.17718</c:v>
                </c:pt>
                <c:pt idx="9">
                  <c:v>0.20790800000000001</c:v>
                </c:pt>
                <c:pt idx="10">
                  <c:v>0.124056</c:v>
                </c:pt>
                <c:pt idx="11">
                  <c:v>0.28078800000000004</c:v>
                </c:pt>
                <c:pt idx="12">
                  <c:v>0.12670000000000001</c:v>
                </c:pt>
                <c:pt idx="13">
                  <c:v>0.17249999999999999</c:v>
                </c:pt>
                <c:pt idx="14">
                  <c:v>0.265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546-4AF6-869E-699FD90EFA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9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9515-402B-869C-9A22CCDC03F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515-402B-869C-9A22CCDC03F7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9515-402B-869C-9A22CCDC03F7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9515-402B-869C-9A22CCDC03F7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9515-402B-869C-9A22CCDC03F7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9515-402B-869C-9A22CCDC03F7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9515-402B-869C-9A22CCDC03F7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9515-402B-869C-9A22CCDC03F7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9515-402B-869C-9A22CCDC03F7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9515-402B-869C-9A22CCDC03F7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45255600000000001</c:v>
                </c:pt>
                <c:pt idx="1">
                  <c:v>0.40295299999999995</c:v>
                </c:pt>
                <c:pt idx="2">
                  <c:v>0.40961900000000001</c:v>
                </c:pt>
                <c:pt idx="3">
                  <c:v>0.310724</c:v>
                </c:pt>
                <c:pt idx="4">
                  <c:v>0.22797799999999999</c:v>
                </c:pt>
                <c:pt idx="5">
                  <c:v>0.32005699999999998</c:v>
                </c:pt>
                <c:pt idx="6">
                  <c:v>0.29699999999999999</c:v>
                </c:pt>
                <c:pt idx="7">
                  <c:v>0.22</c:v>
                </c:pt>
                <c:pt idx="8">
                  <c:v>0.23966000000000001</c:v>
                </c:pt>
                <c:pt idx="9">
                  <c:v>0.19448100000000001</c:v>
                </c:pt>
                <c:pt idx="10">
                  <c:v>0.17848</c:v>
                </c:pt>
                <c:pt idx="11">
                  <c:v>0.16903600000000002</c:v>
                </c:pt>
                <c:pt idx="12">
                  <c:v>0.161</c:v>
                </c:pt>
                <c:pt idx="13">
                  <c:v>0.15570000000000001</c:v>
                </c:pt>
                <c:pt idx="14">
                  <c:v>0.1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515-402B-869C-9A22CCDC03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1.1000000000000001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842-4835-918D-7D6E82709EE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842-4835-918D-7D6E82709EEF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0842-4835-918D-7D6E82709EEF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0842-4835-918D-7D6E82709EEF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0842-4835-918D-7D6E82709EEF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0842-4835-918D-7D6E82709EEF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0842-4835-918D-7D6E82709EEF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0842-4835-918D-7D6E82709EEF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0842-4835-918D-7D6E82709EEF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0842-4835-918D-7D6E82709EE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137124</c:v>
                </c:pt>
                <c:pt idx="1">
                  <c:v>7.0220000000000005E-2</c:v>
                </c:pt>
                <c:pt idx="2">
                  <c:v>4.6241999999999998E-2</c:v>
                </c:pt>
                <c:pt idx="3">
                  <c:v>4.4337999999999995E-2</c:v>
                </c:pt>
                <c:pt idx="4">
                  <c:v>2.8414000000000002E-2</c:v>
                </c:pt>
                <c:pt idx="5">
                  <c:v>2.7574999999999999E-2</c:v>
                </c:pt>
                <c:pt idx="6">
                  <c:v>2.5270999999999998E-2</c:v>
                </c:pt>
                <c:pt idx="7">
                  <c:v>2.5062000000000001E-2</c:v>
                </c:pt>
                <c:pt idx="8">
                  <c:v>2.4813000000000002E-2</c:v>
                </c:pt>
                <c:pt idx="9">
                  <c:v>2.4584999999999999E-2</c:v>
                </c:pt>
                <c:pt idx="10">
                  <c:v>2.4123000000000002E-2</c:v>
                </c:pt>
                <c:pt idx="11">
                  <c:v>2.3498999999999999E-2</c:v>
                </c:pt>
                <c:pt idx="12">
                  <c:v>2.1381000000000001E-2</c:v>
                </c:pt>
                <c:pt idx="13">
                  <c:v>2.1107999999999998E-2</c:v>
                </c:pt>
                <c:pt idx="14">
                  <c:v>1.6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0842-4835-918D-7D6E82709E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4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3546-4AF6-869E-699FD90EFA7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546-4AF6-869E-699FD90EFA75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3546-4AF6-869E-699FD90EFA75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546-4AF6-869E-699FD90EFA75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3546-4AF6-869E-699FD90EFA75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546-4AF6-869E-699FD90EFA75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3546-4AF6-869E-699FD90EFA75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546-4AF6-869E-699FD90EFA75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3546-4AF6-869E-699FD90EFA75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3546-4AF6-869E-699FD90EFA7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225074</c:v>
                </c:pt>
                <c:pt idx="1">
                  <c:v>0.12668599999999999</c:v>
                </c:pt>
                <c:pt idx="2">
                  <c:v>0.100899</c:v>
                </c:pt>
                <c:pt idx="3">
                  <c:v>7.6772999999999994E-2</c:v>
                </c:pt>
                <c:pt idx="4">
                  <c:v>0.105271</c:v>
                </c:pt>
                <c:pt idx="5">
                  <c:v>9.6539E-2</c:v>
                </c:pt>
                <c:pt idx="6">
                  <c:v>7.2298000000000001E-2</c:v>
                </c:pt>
                <c:pt idx="7">
                  <c:v>6.0259E-2</c:v>
                </c:pt>
                <c:pt idx="8">
                  <c:v>7.3613999999999999E-2</c:v>
                </c:pt>
                <c:pt idx="9">
                  <c:v>9.4781999999999991E-2</c:v>
                </c:pt>
                <c:pt idx="10">
                  <c:v>0.107086</c:v>
                </c:pt>
                <c:pt idx="11">
                  <c:v>7.6568999999999998E-2</c:v>
                </c:pt>
                <c:pt idx="12">
                  <c:v>5.0435999999999995E-2</c:v>
                </c:pt>
                <c:pt idx="13">
                  <c:v>5.5682000000000002E-2</c:v>
                </c:pt>
                <c:pt idx="14">
                  <c:v>5.4767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546-4AF6-869E-699FD90EFA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9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9515-402B-869C-9A22CCDC03F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515-402B-869C-9A22CCDC03F7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9515-402B-869C-9A22CCDC03F7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9515-402B-869C-9A22CCDC03F7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9515-402B-869C-9A22CCDC03F7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9515-402B-869C-9A22CCDC03F7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9515-402B-869C-9A22CCDC03F7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9515-402B-869C-9A22CCDC03F7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9515-402B-869C-9A22CCDC03F7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9515-402B-869C-9A22CCDC03F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310724</c:v>
                </c:pt>
                <c:pt idx="1">
                  <c:v>0.16102699999999998</c:v>
                </c:pt>
                <c:pt idx="2">
                  <c:v>0.111597</c:v>
                </c:pt>
                <c:pt idx="3">
                  <c:v>0.10792400000000001</c:v>
                </c:pt>
                <c:pt idx="4">
                  <c:v>6.9539999999999991E-2</c:v>
                </c:pt>
                <c:pt idx="5">
                  <c:v>6.7641999999999994E-2</c:v>
                </c:pt>
                <c:pt idx="6">
                  <c:v>8.0856999999999998E-2</c:v>
                </c:pt>
                <c:pt idx="7">
                  <c:v>5.3780999999999995E-2</c:v>
                </c:pt>
                <c:pt idx="8">
                  <c:v>5.6510999999999999E-2</c:v>
                </c:pt>
                <c:pt idx="9">
                  <c:v>6.5793000000000004E-2</c:v>
                </c:pt>
                <c:pt idx="10">
                  <c:v>6.3135999999999998E-2</c:v>
                </c:pt>
                <c:pt idx="11">
                  <c:v>6.0934000000000002E-2</c:v>
                </c:pt>
                <c:pt idx="12">
                  <c:v>5.9358000000000001E-2</c:v>
                </c:pt>
                <c:pt idx="13">
                  <c:v>7.3385999999999993E-2</c:v>
                </c:pt>
                <c:pt idx="14">
                  <c:v>4.7849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515-402B-869C-9A22CCDC03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1.1000000000000001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2!$G$5</c:f>
              <c:strCache>
                <c:ptCount val="1"/>
                <c:pt idx="0">
                  <c:v>AMR</c:v>
                </c:pt>
              </c:strCache>
            </c:strRef>
          </c:tx>
          <c:spPr>
            <a:solidFill>
              <a:srgbClr val="FF7C80"/>
            </a:solidFill>
            <a:ln>
              <a:solidFill>
                <a:srgbClr val="FF5050"/>
              </a:solidFill>
            </a:ln>
            <a:effectLst/>
          </c:spPr>
          <c:invertIfNegative val="0"/>
          <c:cat>
            <c:strRef>
              <c:f>List2!$F$14:$F$25</c:f>
              <c:strCache>
                <c:ptCount val="12"/>
                <c:pt idx="0">
                  <c:v>rujan '21</c:v>
                </c:pt>
                <c:pt idx="1">
                  <c:v>listopad '21</c:v>
                </c:pt>
                <c:pt idx="2">
                  <c:v>studeni '21</c:v>
                </c:pt>
                <c:pt idx="3">
                  <c:v>prosinac '21</c:v>
                </c:pt>
                <c:pt idx="4">
                  <c:v>siječanj '22.</c:v>
                </c:pt>
                <c:pt idx="5">
                  <c:v>veljača '22.</c:v>
                </c:pt>
                <c:pt idx="6">
                  <c:v>ožujak '22.</c:v>
                </c:pt>
                <c:pt idx="7">
                  <c:v>travanj '22.</c:v>
                </c:pt>
                <c:pt idx="8">
                  <c:v>svibanj '22.</c:v>
                </c:pt>
                <c:pt idx="9">
                  <c:v>lipanj '22</c:v>
                </c:pt>
                <c:pt idx="10">
                  <c:v>srpanj '22</c:v>
                </c:pt>
                <c:pt idx="11">
                  <c:v>kolovoz '22</c:v>
                </c:pt>
              </c:strCache>
            </c:strRef>
          </c:cat>
          <c:val>
            <c:numRef>
              <c:f>List2!$G$14:$G$25</c:f>
              <c:numCache>
                <c:formatCode>0.00%</c:formatCode>
                <c:ptCount val="12"/>
                <c:pt idx="0">
                  <c:v>0.18207699999999999</c:v>
                </c:pt>
                <c:pt idx="1">
                  <c:v>0.192687</c:v>
                </c:pt>
                <c:pt idx="2">
                  <c:v>0.20177499999999998</c:v>
                </c:pt>
                <c:pt idx="3">
                  <c:v>0.188</c:v>
                </c:pt>
                <c:pt idx="4">
                  <c:v>0.19500000000000001</c:v>
                </c:pt>
                <c:pt idx="5">
                  <c:v>0.17879999999999999</c:v>
                </c:pt>
                <c:pt idx="6">
                  <c:v>0.17125800000000002</c:v>
                </c:pt>
                <c:pt idx="7">
                  <c:v>0.17297399999999999</c:v>
                </c:pt>
                <c:pt idx="8" formatCode="0.0%">
                  <c:v>0.15845800000000002</c:v>
                </c:pt>
                <c:pt idx="9">
                  <c:v>0.14447499999999999</c:v>
                </c:pt>
                <c:pt idx="10">
                  <c:v>0.13769999999999999</c:v>
                </c:pt>
                <c:pt idx="11">
                  <c:v>0.1767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2F3-487F-A522-DF5F6AEBCD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31278224"/>
        <c:axId val="631285712"/>
      </c:barChart>
      <c:lineChart>
        <c:grouping val="standard"/>
        <c:varyColors val="0"/>
        <c:ser>
          <c:idx val="1"/>
          <c:order val="1"/>
          <c:tx>
            <c:strRef>
              <c:f>List2!$H$5</c:f>
              <c:strCache>
                <c:ptCount val="1"/>
                <c:pt idx="0">
                  <c:v>AT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2!$F$14:$F$25</c:f>
              <c:strCache>
                <c:ptCount val="12"/>
                <c:pt idx="0">
                  <c:v>rujan '21</c:v>
                </c:pt>
                <c:pt idx="1">
                  <c:v>listopad '21</c:v>
                </c:pt>
                <c:pt idx="2">
                  <c:v>studeni '21</c:v>
                </c:pt>
                <c:pt idx="3">
                  <c:v>prosinac '21</c:v>
                </c:pt>
                <c:pt idx="4">
                  <c:v>siječanj '22.</c:v>
                </c:pt>
                <c:pt idx="5">
                  <c:v>veljača '22.</c:v>
                </c:pt>
                <c:pt idx="6">
                  <c:v>ožujak '22.</c:v>
                </c:pt>
                <c:pt idx="7">
                  <c:v>travanj '22.</c:v>
                </c:pt>
                <c:pt idx="8">
                  <c:v>svibanj '22.</c:v>
                </c:pt>
                <c:pt idx="9">
                  <c:v>lipanj '22</c:v>
                </c:pt>
                <c:pt idx="10">
                  <c:v>srpanj '22</c:v>
                </c:pt>
                <c:pt idx="11">
                  <c:v>kolovoz '22</c:v>
                </c:pt>
              </c:strCache>
            </c:strRef>
          </c:cat>
          <c:val>
            <c:numRef>
              <c:f>List2!$H$14:$H$25</c:f>
              <c:numCache>
                <c:formatCode>General</c:formatCode>
                <c:ptCount val="12"/>
                <c:pt idx="0">
                  <c:v>380</c:v>
                </c:pt>
                <c:pt idx="1">
                  <c:v>406</c:v>
                </c:pt>
                <c:pt idx="2">
                  <c:v>428</c:v>
                </c:pt>
                <c:pt idx="3">
                  <c:v>420</c:v>
                </c:pt>
                <c:pt idx="4">
                  <c:v>444</c:v>
                </c:pt>
                <c:pt idx="5" formatCode="0">
                  <c:v>426</c:v>
                </c:pt>
                <c:pt idx="6">
                  <c:v>351</c:v>
                </c:pt>
                <c:pt idx="7" formatCode="0">
                  <c:v>354.91666666666669</c:v>
                </c:pt>
                <c:pt idx="8" formatCode="0">
                  <c:v>338.04999999999995</c:v>
                </c:pt>
                <c:pt idx="9" formatCode="0">
                  <c:v>326.2167</c:v>
                </c:pt>
                <c:pt idx="10" formatCode="0">
                  <c:v>321</c:v>
                </c:pt>
                <c:pt idx="11" formatCode="#,##0">
                  <c:v>358.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2F3-487F-A522-DF5F6AEBCD05}"/>
            </c:ext>
          </c:extLst>
        </c:ser>
        <c:ser>
          <c:idx val="2"/>
          <c:order val="2"/>
          <c:tx>
            <c:strRef>
              <c:f>List2!$I$5</c:f>
              <c:strCache>
                <c:ptCount val="1"/>
                <c:pt idx="0">
                  <c:v>ATV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List2!$F$14:$F$25</c:f>
              <c:strCache>
                <c:ptCount val="12"/>
                <c:pt idx="0">
                  <c:v>rujan '21</c:v>
                </c:pt>
                <c:pt idx="1">
                  <c:v>listopad '21</c:v>
                </c:pt>
                <c:pt idx="2">
                  <c:v>studeni '21</c:v>
                </c:pt>
                <c:pt idx="3">
                  <c:v>prosinac '21</c:v>
                </c:pt>
                <c:pt idx="4">
                  <c:v>siječanj '22.</c:v>
                </c:pt>
                <c:pt idx="5">
                  <c:v>veljača '22.</c:v>
                </c:pt>
                <c:pt idx="6">
                  <c:v>ožujak '22.</c:v>
                </c:pt>
                <c:pt idx="7">
                  <c:v>travanj '22.</c:v>
                </c:pt>
                <c:pt idx="8">
                  <c:v>svibanj '22.</c:v>
                </c:pt>
                <c:pt idx="9">
                  <c:v>lipanj '22</c:v>
                </c:pt>
                <c:pt idx="10">
                  <c:v>srpanj '22</c:v>
                </c:pt>
                <c:pt idx="11">
                  <c:v>kolovoz '22</c:v>
                </c:pt>
              </c:strCache>
            </c:strRef>
          </c:cat>
          <c:val>
            <c:numRef>
              <c:f>List2!$I$14:$I$25</c:f>
              <c:numCache>
                <c:formatCode>General</c:formatCode>
                <c:ptCount val="12"/>
                <c:pt idx="0">
                  <c:v>262</c:v>
                </c:pt>
                <c:pt idx="1">
                  <c:v>278</c:v>
                </c:pt>
                <c:pt idx="2">
                  <c:v>291</c:v>
                </c:pt>
                <c:pt idx="3">
                  <c:v>282</c:v>
                </c:pt>
                <c:pt idx="4">
                  <c:v>281</c:v>
                </c:pt>
                <c:pt idx="5" formatCode="0">
                  <c:v>258</c:v>
                </c:pt>
                <c:pt idx="6">
                  <c:v>246</c:v>
                </c:pt>
                <c:pt idx="7" formatCode="0">
                  <c:v>249.06666666666666</c:v>
                </c:pt>
                <c:pt idx="8" formatCode="0">
                  <c:v>228.16666666666666</c:v>
                </c:pt>
                <c:pt idx="9" formatCode="0">
                  <c:v>208.03333333333333</c:v>
                </c:pt>
                <c:pt idx="10" formatCode="0">
                  <c:v>198</c:v>
                </c:pt>
                <c:pt idx="11">
                  <c:v>2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8DC-4A20-A656-5AD349A483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31290704"/>
        <c:axId val="631291120"/>
      </c:lineChart>
      <c:catAx>
        <c:axId val="6312907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1291120"/>
        <c:crosses val="autoZero"/>
        <c:auto val="1"/>
        <c:lblAlgn val="ctr"/>
        <c:lblOffset val="100"/>
        <c:noMultiLvlLbl val="0"/>
      </c:catAx>
      <c:valAx>
        <c:axId val="6312911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rgbClr val="75829A"/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1290704"/>
        <c:crosses val="autoZero"/>
        <c:crossBetween val="between"/>
      </c:valAx>
      <c:valAx>
        <c:axId val="631285712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1278224"/>
        <c:crosses val="max"/>
        <c:crossBetween val="between"/>
      </c:valAx>
      <c:catAx>
        <c:axId val="63127822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63128571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6854706788109156"/>
          <c:y val="0.9054994535172477"/>
          <c:w val="0.19148194450218772"/>
          <c:h val="5.072355549916716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9515-402B-869C-9A22CCDC03F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515-402B-869C-9A22CCDC03F7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9515-402B-869C-9A22CCDC03F7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9515-402B-869C-9A22CCDC03F7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9515-402B-869C-9A22CCDC03F7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9515-402B-869C-9A22CCDC03F7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9515-402B-869C-9A22CCDC03F7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9515-402B-869C-9A22CCDC03F7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9515-402B-869C-9A22CCDC03F7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9515-402B-869C-9A22CCDC03F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6</c:f>
              <c:strCache>
                <c:ptCount val="15"/>
                <c:pt idx="0">
                  <c:v>HRT1</c:v>
                </c:pt>
                <c:pt idx="1">
                  <c:v>Nova TV</c:v>
                </c:pt>
                <c:pt idx="2">
                  <c:v>RTL Televizija</c:v>
                </c:pt>
                <c:pt idx="3">
                  <c:v>HRT2</c:v>
                </c:pt>
                <c:pt idx="4">
                  <c:v>Doma TV</c:v>
                </c:pt>
                <c:pt idx="5">
                  <c:v>RTL2</c:v>
                </c:pt>
                <c:pt idx="6">
                  <c:v>Nickelodeon</c:v>
                </c:pt>
                <c:pt idx="7">
                  <c:v>HRT4</c:v>
                </c:pt>
                <c:pt idx="8">
                  <c:v>Arena Sport 1</c:v>
                </c:pt>
                <c:pt idx="9">
                  <c:v>RTL Kockica</c:v>
                </c:pt>
                <c:pt idx="10">
                  <c:v>FOX</c:v>
                </c:pt>
                <c:pt idx="11">
                  <c:v>Nick Jr (HR)</c:v>
                </c:pt>
                <c:pt idx="12">
                  <c:v>National Geographic</c:v>
                </c:pt>
                <c:pt idx="13">
                  <c:v>HRT3</c:v>
                </c:pt>
                <c:pt idx="14">
                  <c:v>CineStar TV1</c:v>
                </c:pt>
              </c:strCache>
            </c:str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842611</c:v>
                </c:pt>
                <c:pt idx="1">
                  <c:v>0.83435400000000004</c:v>
                </c:pt>
                <c:pt idx="2">
                  <c:v>0.83934799999999998</c:v>
                </c:pt>
                <c:pt idx="3">
                  <c:v>0.82278099999999998</c:v>
                </c:pt>
                <c:pt idx="4">
                  <c:v>0.73321499999999995</c:v>
                </c:pt>
                <c:pt idx="5">
                  <c:v>0.74716499999999997</c:v>
                </c:pt>
                <c:pt idx="6">
                  <c:v>0.32042099999999996</c:v>
                </c:pt>
                <c:pt idx="7">
                  <c:v>0.64922600000000008</c:v>
                </c:pt>
                <c:pt idx="8">
                  <c:v>0.50566699999999998</c:v>
                </c:pt>
                <c:pt idx="9">
                  <c:v>0.58855200000000008</c:v>
                </c:pt>
                <c:pt idx="10">
                  <c:v>0.56186599999999998</c:v>
                </c:pt>
                <c:pt idx="11">
                  <c:v>0.24032100000000001</c:v>
                </c:pt>
                <c:pt idx="12">
                  <c:v>0.45171999999999995</c:v>
                </c:pt>
                <c:pt idx="13">
                  <c:v>0.72463300000000008</c:v>
                </c:pt>
                <c:pt idx="14">
                  <c:v>0.637766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515-402B-869C-9A22CCDC03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1.2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9515-402B-869C-9A22CCDC03F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515-402B-869C-9A22CCDC03F7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9515-402B-869C-9A22CCDC03F7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9515-402B-869C-9A22CCDC03F7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9515-402B-869C-9A22CCDC03F7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9515-402B-869C-9A22CCDC03F7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9515-402B-869C-9A22CCDC03F7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9515-402B-869C-9A22CCDC03F7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9515-402B-869C-9A22CCDC03F7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9515-402B-869C-9A22CCDC03F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6</c:f>
              <c:strCache>
                <c:ptCount val="15"/>
                <c:pt idx="0">
                  <c:v>Nickelodeon</c:v>
                </c:pt>
                <c:pt idx="1">
                  <c:v>Arena Sport 1</c:v>
                </c:pt>
                <c:pt idx="2">
                  <c:v>FOX</c:v>
                </c:pt>
                <c:pt idx="3">
                  <c:v>Nick Jr (HR)</c:v>
                </c:pt>
                <c:pt idx="4">
                  <c:v>National Geographic</c:v>
                </c:pt>
                <c:pt idx="5">
                  <c:v>CineStar TV1</c:v>
                </c:pt>
                <c:pt idx="6">
                  <c:v>Pickbox TV</c:v>
                </c:pt>
                <c:pt idx="7">
                  <c:v>Arena Sport 3</c:v>
                </c:pt>
                <c:pt idx="8">
                  <c:v>CineStar TV Action</c:v>
                </c:pt>
                <c:pt idx="9">
                  <c:v>FOX Life</c:v>
                </c:pt>
                <c:pt idx="10">
                  <c:v>FOX Crime</c:v>
                </c:pt>
                <c:pt idx="11">
                  <c:v>FOX Movies</c:v>
                </c:pt>
                <c:pt idx="12">
                  <c:v>HBO</c:v>
                </c:pt>
                <c:pt idx="13">
                  <c:v>HBO 3</c:v>
                </c:pt>
                <c:pt idx="14">
                  <c:v>National Geographic Wild</c:v>
                </c:pt>
              </c:strCache>
            </c:str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32042100000000001</c:v>
                </c:pt>
                <c:pt idx="1">
                  <c:v>0.50566699999999998</c:v>
                </c:pt>
                <c:pt idx="2">
                  <c:v>0.56186599999999998</c:v>
                </c:pt>
                <c:pt idx="3">
                  <c:v>0.24032100000000001</c:v>
                </c:pt>
                <c:pt idx="4">
                  <c:v>0.45172000000000001</c:v>
                </c:pt>
                <c:pt idx="5">
                  <c:v>0.63776600000000006</c:v>
                </c:pt>
                <c:pt idx="6">
                  <c:v>0.51877499999999999</c:v>
                </c:pt>
                <c:pt idx="7">
                  <c:v>0.46198800000000001</c:v>
                </c:pt>
                <c:pt idx="8">
                  <c:v>0.58682000000000001</c:v>
                </c:pt>
                <c:pt idx="9">
                  <c:v>0.51746599999999998</c:v>
                </c:pt>
                <c:pt idx="10">
                  <c:v>0.47875299999999998</c:v>
                </c:pt>
                <c:pt idx="11">
                  <c:v>0.55331200000000003</c:v>
                </c:pt>
                <c:pt idx="12">
                  <c:v>0.37360599999999999</c:v>
                </c:pt>
                <c:pt idx="13">
                  <c:v>0.33736500000000003</c:v>
                </c:pt>
                <c:pt idx="14">
                  <c:v>0.340177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515-402B-869C-9A22CCDC03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1.2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842-4835-918D-7D6E82709EE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842-4835-918D-7D6E82709EEF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0842-4835-918D-7D6E82709EEF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0842-4835-918D-7D6E82709EEF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0842-4835-918D-7D6E82709EEF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0842-4835-918D-7D6E82709EEF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0842-4835-918D-7D6E82709EEF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0842-4835-918D-7D6E82709EEF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0842-4835-918D-7D6E82709EEF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0842-4835-918D-7D6E82709EE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6</c:f>
              <c:strCache>
                <c:ptCount val="15"/>
                <c:pt idx="0">
                  <c:v>Nickelodeon</c:v>
                </c:pt>
                <c:pt idx="1">
                  <c:v>Arena Sport 1</c:v>
                </c:pt>
                <c:pt idx="2">
                  <c:v>FOX</c:v>
                </c:pt>
                <c:pt idx="3">
                  <c:v>Nick Jr (HR)</c:v>
                </c:pt>
                <c:pt idx="4">
                  <c:v>National Geographic</c:v>
                </c:pt>
                <c:pt idx="5">
                  <c:v>CineStar TV1</c:v>
                </c:pt>
                <c:pt idx="6">
                  <c:v>Pickbox TV</c:v>
                </c:pt>
                <c:pt idx="7">
                  <c:v>Arena Sport 3</c:v>
                </c:pt>
                <c:pt idx="8">
                  <c:v>CineStar TV Action</c:v>
                </c:pt>
                <c:pt idx="9">
                  <c:v>FOX Life</c:v>
                </c:pt>
                <c:pt idx="10">
                  <c:v>FOX Crime</c:v>
                </c:pt>
                <c:pt idx="11">
                  <c:v>FOX Movies</c:v>
                </c:pt>
                <c:pt idx="12">
                  <c:v>HBO</c:v>
                </c:pt>
                <c:pt idx="13">
                  <c:v>HBO 3</c:v>
                </c:pt>
                <c:pt idx="14">
                  <c:v>National Geographic Wild</c:v>
                </c:pt>
              </c:strCache>
            </c:strRef>
          </c:cat>
          <c:val>
            <c:numRef>
              <c:f>Tabelle1!$B$2:$B$16</c:f>
              <c:numCache>
                <c:formatCode>0.0%</c:formatCode>
                <c:ptCount val="15"/>
                <c:pt idx="0">
                  <c:v>3.0672000000000001E-2</c:v>
                </c:pt>
                <c:pt idx="1">
                  <c:v>2.1881999999999999E-2</c:v>
                </c:pt>
                <c:pt idx="2">
                  <c:v>1.2815E-2</c:v>
                </c:pt>
                <c:pt idx="3">
                  <c:v>1.2407E-2</c:v>
                </c:pt>
                <c:pt idx="4">
                  <c:v>1.2389000000000001E-2</c:v>
                </c:pt>
                <c:pt idx="5">
                  <c:v>1.0884E-2</c:v>
                </c:pt>
                <c:pt idx="6">
                  <c:v>1.0149E-2</c:v>
                </c:pt>
                <c:pt idx="7">
                  <c:v>1.0067E-2</c:v>
                </c:pt>
                <c:pt idx="8">
                  <c:v>1.0044000000000001E-2</c:v>
                </c:pt>
                <c:pt idx="9">
                  <c:v>9.3779999999999992E-3</c:v>
                </c:pt>
                <c:pt idx="10">
                  <c:v>9.2160000000000002E-3</c:v>
                </c:pt>
                <c:pt idx="11">
                  <c:v>8.6630000000000006E-3</c:v>
                </c:pt>
                <c:pt idx="12">
                  <c:v>7.5259999999999997E-3</c:v>
                </c:pt>
                <c:pt idx="13">
                  <c:v>7.0239999999999999E-3</c:v>
                </c:pt>
                <c:pt idx="14">
                  <c:v>6.692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0842-4835-918D-7D6E82709E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24000000000000002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3546-4AF6-869E-699FD90EFA7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546-4AF6-869E-699FD90EFA75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3546-4AF6-869E-699FD90EFA75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546-4AF6-869E-699FD90EFA75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3546-4AF6-869E-699FD90EFA75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546-4AF6-869E-699FD90EFA75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3546-4AF6-869E-699FD90EFA75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546-4AF6-869E-699FD90EFA75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3546-4AF6-869E-699FD90EFA75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3546-4AF6-869E-699FD90EFA7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6</c:f>
              <c:strCache>
                <c:ptCount val="15"/>
                <c:pt idx="0">
                  <c:v>Nickelodeon</c:v>
                </c:pt>
                <c:pt idx="1">
                  <c:v>Arena Sport 1</c:v>
                </c:pt>
                <c:pt idx="2">
                  <c:v>FOX</c:v>
                </c:pt>
                <c:pt idx="3">
                  <c:v>Nick Jr (HR)</c:v>
                </c:pt>
                <c:pt idx="4">
                  <c:v>National Geographic</c:v>
                </c:pt>
                <c:pt idx="5">
                  <c:v>CineStar TV1</c:v>
                </c:pt>
                <c:pt idx="6">
                  <c:v>Pickbox TV</c:v>
                </c:pt>
                <c:pt idx="7">
                  <c:v>Arena Sport 3</c:v>
                </c:pt>
                <c:pt idx="8">
                  <c:v>CineStar TV Action</c:v>
                </c:pt>
                <c:pt idx="9">
                  <c:v>FOX Life</c:v>
                </c:pt>
                <c:pt idx="10">
                  <c:v>FOX Crime</c:v>
                </c:pt>
                <c:pt idx="11">
                  <c:v>FOX Movies</c:v>
                </c:pt>
                <c:pt idx="12">
                  <c:v>HBO</c:v>
                </c:pt>
                <c:pt idx="13">
                  <c:v>HBO 3</c:v>
                </c:pt>
                <c:pt idx="14">
                  <c:v>National Geographic Wild</c:v>
                </c:pt>
              </c:strCache>
            </c:strRef>
          </c:cat>
          <c:val>
            <c:numRef>
              <c:f>Tabelle1!$B$2:$B$16</c:f>
              <c:numCache>
                <c:formatCode>0.0%</c:formatCode>
                <c:ptCount val="15"/>
                <c:pt idx="0">
                  <c:v>5.4200000000000003E-3</c:v>
                </c:pt>
                <c:pt idx="1">
                  <c:v>3.8670000000000002E-3</c:v>
                </c:pt>
                <c:pt idx="2">
                  <c:v>2.2650000000000001E-3</c:v>
                </c:pt>
                <c:pt idx="3">
                  <c:v>2.1919999999999999E-3</c:v>
                </c:pt>
                <c:pt idx="4">
                  <c:v>2.189E-3</c:v>
                </c:pt>
                <c:pt idx="5">
                  <c:v>1.923E-3</c:v>
                </c:pt>
                <c:pt idx="6">
                  <c:v>1.7930000000000001E-3</c:v>
                </c:pt>
                <c:pt idx="7">
                  <c:v>1.779E-3</c:v>
                </c:pt>
                <c:pt idx="8">
                  <c:v>1.7750000000000001E-3</c:v>
                </c:pt>
                <c:pt idx="9">
                  <c:v>1.6570000000000001E-3</c:v>
                </c:pt>
                <c:pt idx="10">
                  <c:v>1.6280000000000001E-3</c:v>
                </c:pt>
                <c:pt idx="11">
                  <c:v>1.531E-3</c:v>
                </c:pt>
                <c:pt idx="12">
                  <c:v>1.33E-3</c:v>
                </c:pt>
                <c:pt idx="13">
                  <c:v>1.2409999999999999E-3</c:v>
                </c:pt>
                <c:pt idx="14">
                  <c:v>1.183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546-4AF6-869E-699FD90EFA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1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842-4835-918D-7D6E82709EE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842-4835-918D-7D6E82709EEF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0842-4835-918D-7D6E82709EEF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0842-4835-918D-7D6E82709EEF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0842-4835-918D-7D6E82709EEF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0842-4835-918D-7D6E82709EEF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0842-4835-918D-7D6E82709EEF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0842-4835-918D-7D6E82709EEF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0842-4835-918D-7D6E82709EE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2</c:v>
                </c:pt>
                <c:pt idx="1">
                  <c:v>0.17899999999999999</c:v>
                </c:pt>
                <c:pt idx="2">
                  <c:v>0.17499999999999999</c:v>
                </c:pt>
                <c:pt idx="3">
                  <c:v>0.13700000000000001</c:v>
                </c:pt>
                <c:pt idx="4">
                  <c:v>0.107</c:v>
                </c:pt>
                <c:pt idx="5">
                  <c:v>9.5000000000000001E-2</c:v>
                </c:pt>
                <c:pt idx="6">
                  <c:v>9.2999999999999999E-2</c:v>
                </c:pt>
                <c:pt idx="7">
                  <c:v>9.1999999999999998E-2</c:v>
                </c:pt>
                <c:pt idx="8">
                  <c:v>9.0999999999999998E-2</c:v>
                </c:pt>
                <c:pt idx="9">
                  <c:v>9.0999999999999998E-2</c:v>
                </c:pt>
                <c:pt idx="10">
                  <c:v>8.8999999999999996E-2</c:v>
                </c:pt>
                <c:pt idx="11">
                  <c:v>8.7999999999999995E-2</c:v>
                </c:pt>
                <c:pt idx="12">
                  <c:v>8.4000000000000005E-2</c:v>
                </c:pt>
                <c:pt idx="13">
                  <c:v>8.2000000000000003E-2</c:v>
                </c:pt>
                <c:pt idx="14">
                  <c:v>8.20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0842-4835-918D-7D6E82709E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55000000000000004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3546-4AF6-869E-699FD90EFA7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546-4AF6-869E-699FD90EFA75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3546-4AF6-869E-699FD90EFA75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546-4AF6-869E-699FD90EFA75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3546-4AF6-869E-699FD90EFA75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546-4AF6-869E-699FD90EFA75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3546-4AF6-869E-699FD90EFA75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3546-4AF6-869E-699FD90EFA75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3546-4AF6-869E-699FD90EFA7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36499999999999999</c:v>
                </c:pt>
                <c:pt idx="1">
                  <c:v>0.36399999999999999</c:v>
                </c:pt>
                <c:pt idx="2">
                  <c:v>0.34300000000000003</c:v>
                </c:pt>
                <c:pt idx="3">
                  <c:v>0.22500000000000001</c:v>
                </c:pt>
                <c:pt idx="4">
                  <c:v>0.16900000000000001</c:v>
                </c:pt>
                <c:pt idx="5">
                  <c:v>0.113</c:v>
                </c:pt>
                <c:pt idx="6">
                  <c:v>0.14299999999999999</c:v>
                </c:pt>
                <c:pt idx="7">
                  <c:v>0.185</c:v>
                </c:pt>
                <c:pt idx="8">
                  <c:v>0.24299999999999999</c:v>
                </c:pt>
                <c:pt idx="9">
                  <c:v>0.13200000000000001</c:v>
                </c:pt>
                <c:pt idx="10">
                  <c:v>0.16800000000000001</c:v>
                </c:pt>
                <c:pt idx="11">
                  <c:v>0.23499999999999999</c:v>
                </c:pt>
                <c:pt idx="12">
                  <c:v>0.17699999999999999</c:v>
                </c:pt>
                <c:pt idx="13">
                  <c:v>0.125</c:v>
                </c:pt>
                <c:pt idx="14">
                  <c:v>0.14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546-4AF6-869E-699FD90EFA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9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9515-402B-869C-9A22CCDC03F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515-402B-869C-9A22CCDC03F7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9515-402B-869C-9A22CCDC03F7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9515-402B-869C-9A22CCDC03F7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9515-402B-869C-9A22CCDC03F7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9515-402B-869C-9A22CCDC03F7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9515-402B-869C-9A22CCDC03F7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9515-402B-869C-9A22CCDC03F7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9515-402B-869C-9A22CCDC03F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45300000000000001</c:v>
                </c:pt>
                <c:pt idx="1">
                  <c:v>0.40300000000000002</c:v>
                </c:pt>
                <c:pt idx="2">
                  <c:v>0.41</c:v>
                </c:pt>
                <c:pt idx="3">
                  <c:v>0.311</c:v>
                </c:pt>
                <c:pt idx="4">
                  <c:v>0.33600000000000002</c:v>
                </c:pt>
                <c:pt idx="5">
                  <c:v>0.40500000000000003</c:v>
                </c:pt>
                <c:pt idx="6">
                  <c:v>0.28199999999999997</c:v>
                </c:pt>
                <c:pt idx="7">
                  <c:v>0.22800000000000001</c:v>
                </c:pt>
                <c:pt idx="8">
                  <c:v>0.33900000000000002</c:v>
                </c:pt>
                <c:pt idx="9">
                  <c:v>0.32</c:v>
                </c:pt>
                <c:pt idx="10">
                  <c:v>0.29699999999999999</c:v>
                </c:pt>
                <c:pt idx="11">
                  <c:v>0.22</c:v>
                </c:pt>
                <c:pt idx="12">
                  <c:v>0.24</c:v>
                </c:pt>
                <c:pt idx="13">
                  <c:v>0.309</c:v>
                </c:pt>
                <c:pt idx="14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515-402B-869C-9A22CCDC03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1.1000000000000001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513BF5-BA33-4D87-8729-6B6071720883}" type="datetimeFigureOut">
              <a:rPr lang="en-US" smtClean="0"/>
              <a:t>9/2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79926C-EB85-43BC-B4A9-DC340E8732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72204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r-HR"/>
              <a:t>TTV-total tv kanali (svi zemaljski i nezemaljski) u </a:t>
            </a:r>
            <a:endParaRPr lang="hr-HR" dirty="0"/>
          </a:p>
          <a:p>
            <a:r>
              <a:rPr lang="hr-HR" dirty="0"/>
              <a:t>AMR</a:t>
            </a:r>
            <a:br>
              <a:rPr lang="hr-HR" dirty="0"/>
            </a:br>
            <a:r>
              <a:rPr lang="hr-HR" dirty="0"/>
              <a:t>AT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79926C-EB85-43BC-B4A9-DC340E8732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44058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3271" y="693445"/>
            <a:ext cx="10515600" cy="106015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>
              <a:lnSpc>
                <a:spcPct val="80000"/>
              </a:lnSpc>
              <a:defRPr sz="2800" spc="-150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de-DE" dirty="0"/>
              <a:t>Titelmasterformat </a:t>
            </a:r>
            <a:br>
              <a:rPr lang="de-DE" dirty="0"/>
            </a:br>
            <a:r>
              <a:rPr lang="de-DE" dirty="0"/>
              <a:t>durch Klicken 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93271" y="1898474"/>
            <a:ext cx="10515600" cy="417381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9144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3716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8288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4" name="Rechteck 25"/>
          <p:cNvSpPr/>
          <p:nvPr userDrawn="1"/>
        </p:nvSpPr>
        <p:spPr>
          <a:xfrm>
            <a:off x="149134" y="6462023"/>
            <a:ext cx="444137" cy="28803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ctr"/>
            <a:fld id="{E6723BED-33AB-4D74-A326-EFE42B737403}" type="slidenum">
              <a:rPr lang="de-DE" sz="900" b="0" noProof="0" smtClean="0">
                <a:solidFill>
                  <a:schemeClr val="bg1">
                    <a:lumMod val="65000"/>
                  </a:schemeClr>
                </a:solidFill>
                <a:latin typeface="+mn-lt"/>
                <a:cs typeface="Museo 300"/>
              </a:rPr>
              <a:pPr lvl="0" algn="ctr"/>
              <a:t>‹#›</a:t>
            </a:fld>
            <a:endParaRPr lang="de-DE" sz="900" b="0" noProof="0" dirty="0">
              <a:solidFill>
                <a:schemeClr val="bg1">
                  <a:lumMod val="65000"/>
                </a:schemeClr>
              </a:solidFill>
              <a:latin typeface="+mn-lt"/>
              <a:cs typeface="Museo 300"/>
            </a:endParaRPr>
          </a:p>
        </p:txBody>
      </p:sp>
      <p:sp>
        <p:nvSpPr>
          <p:cNvPr id="17" name="Inhaltsplatzhalter 2"/>
          <p:cNvSpPr>
            <a:spLocks noGrp="1"/>
          </p:cNvSpPr>
          <p:nvPr>
            <p:ph idx="10"/>
          </p:nvPr>
        </p:nvSpPr>
        <p:spPr>
          <a:xfrm>
            <a:off x="593271" y="358782"/>
            <a:ext cx="10515600" cy="3346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9144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3716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8288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grpSp>
        <p:nvGrpSpPr>
          <p:cNvPr id="18" name="Gruppieren 17"/>
          <p:cNvGrpSpPr/>
          <p:nvPr userDrawn="1"/>
        </p:nvGrpSpPr>
        <p:grpSpPr>
          <a:xfrm>
            <a:off x="0" y="0"/>
            <a:ext cx="12192000" cy="211015"/>
            <a:chOff x="0" y="6496594"/>
            <a:chExt cx="11530148" cy="361406"/>
          </a:xfrm>
        </p:grpSpPr>
        <p:pic>
          <p:nvPicPr>
            <p:cNvPr id="19" name="Grafik 18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496594"/>
              <a:ext cx="5765074" cy="361406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0" name="Grafik 19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765074" y="6496594"/>
              <a:ext cx="5765074" cy="361406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6034" y="6442978"/>
            <a:ext cx="1346200" cy="236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5422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3271" y="693445"/>
            <a:ext cx="10515600" cy="106015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>
              <a:lnSpc>
                <a:spcPct val="80000"/>
              </a:lnSpc>
              <a:defRPr sz="2800" spc="-150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de-DE" dirty="0"/>
              <a:t>Titelmasterformat </a:t>
            </a:r>
            <a:br>
              <a:rPr lang="de-DE" dirty="0"/>
            </a:br>
            <a:r>
              <a:rPr lang="de-DE" dirty="0"/>
              <a:t>durch Klicken 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93271" y="1898474"/>
            <a:ext cx="10515600" cy="417381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9144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3716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8288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4" name="Rechteck 25"/>
          <p:cNvSpPr/>
          <p:nvPr userDrawn="1"/>
        </p:nvSpPr>
        <p:spPr>
          <a:xfrm>
            <a:off x="149134" y="6462023"/>
            <a:ext cx="444137" cy="28803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ctr"/>
            <a:fld id="{E6723BED-33AB-4D74-A326-EFE42B737403}" type="slidenum">
              <a:rPr lang="de-DE" sz="900" smtClean="0">
                <a:solidFill>
                  <a:prstClr val="white">
                    <a:lumMod val="65000"/>
                  </a:prstClr>
                </a:solidFill>
                <a:cs typeface="Museo 300"/>
              </a:rPr>
              <a:pPr algn="ctr"/>
              <a:t>‹#›</a:t>
            </a:fld>
            <a:endParaRPr lang="de-DE" sz="900" dirty="0">
              <a:solidFill>
                <a:prstClr val="white">
                  <a:lumMod val="65000"/>
                </a:prstClr>
              </a:solidFill>
              <a:cs typeface="Museo 300"/>
            </a:endParaRPr>
          </a:p>
        </p:txBody>
      </p:sp>
      <p:sp>
        <p:nvSpPr>
          <p:cNvPr id="17" name="Inhaltsplatzhalter 2"/>
          <p:cNvSpPr>
            <a:spLocks noGrp="1"/>
          </p:cNvSpPr>
          <p:nvPr>
            <p:ph idx="10"/>
          </p:nvPr>
        </p:nvSpPr>
        <p:spPr>
          <a:xfrm>
            <a:off x="593271" y="358782"/>
            <a:ext cx="10515600" cy="3346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9144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3716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8288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grpSp>
        <p:nvGrpSpPr>
          <p:cNvPr id="18" name="Gruppieren 17"/>
          <p:cNvGrpSpPr/>
          <p:nvPr userDrawn="1"/>
        </p:nvGrpSpPr>
        <p:grpSpPr>
          <a:xfrm>
            <a:off x="0" y="0"/>
            <a:ext cx="12192000" cy="211015"/>
            <a:chOff x="0" y="6496594"/>
            <a:chExt cx="11530148" cy="361406"/>
          </a:xfrm>
        </p:grpSpPr>
        <p:pic>
          <p:nvPicPr>
            <p:cNvPr id="19" name="Grafik 18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496594"/>
              <a:ext cx="5765074" cy="361406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0" name="Grafik 19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765074" y="6496594"/>
              <a:ext cx="5765074" cy="361406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6034" y="6442978"/>
            <a:ext cx="1346200" cy="236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21880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3271" y="693445"/>
            <a:ext cx="10515600" cy="106015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>
              <a:lnSpc>
                <a:spcPct val="80000"/>
              </a:lnSpc>
              <a:defRPr sz="2800" spc="-150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de-DE" dirty="0"/>
              <a:t>Titelmasterformat </a:t>
            </a:r>
            <a:br>
              <a:rPr lang="de-DE" dirty="0"/>
            </a:br>
            <a:r>
              <a:rPr lang="de-DE" dirty="0"/>
              <a:t>durch Klicken 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93271" y="1898474"/>
            <a:ext cx="10515600" cy="417381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9144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3716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8288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4" name="Rechteck 25"/>
          <p:cNvSpPr/>
          <p:nvPr userDrawn="1"/>
        </p:nvSpPr>
        <p:spPr>
          <a:xfrm>
            <a:off x="149134" y="6462023"/>
            <a:ext cx="444137" cy="28803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ctr"/>
            <a:fld id="{E6723BED-33AB-4D74-A326-EFE42B737403}" type="slidenum">
              <a:rPr lang="de-DE" sz="900" smtClean="0">
                <a:solidFill>
                  <a:prstClr val="white">
                    <a:lumMod val="65000"/>
                  </a:prstClr>
                </a:solidFill>
                <a:cs typeface="Museo 300"/>
              </a:rPr>
              <a:pPr algn="ctr"/>
              <a:t>‹#›</a:t>
            </a:fld>
            <a:endParaRPr lang="de-DE" sz="900" dirty="0">
              <a:solidFill>
                <a:prstClr val="white">
                  <a:lumMod val="65000"/>
                </a:prstClr>
              </a:solidFill>
              <a:cs typeface="Museo 300"/>
            </a:endParaRPr>
          </a:p>
        </p:txBody>
      </p:sp>
      <p:sp>
        <p:nvSpPr>
          <p:cNvPr id="17" name="Inhaltsplatzhalter 2"/>
          <p:cNvSpPr>
            <a:spLocks noGrp="1"/>
          </p:cNvSpPr>
          <p:nvPr>
            <p:ph idx="10"/>
          </p:nvPr>
        </p:nvSpPr>
        <p:spPr>
          <a:xfrm>
            <a:off x="593271" y="358782"/>
            <a:ext cx="10515600" cy="3346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9144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3716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8288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grpSp>
        <p:nvGrpSpPr>
          <p:cNvPr id="18" name="Gruppieren 17"/>
          <p:cNvGrpSpPr/>
          <p:nvPr userDrawn="1"/>
        </p:nvGrpSpPr>
        <p:grpSpPr>
          <a:xfrm>
            <a:off x="0" y="0"/>
            <a:ext cx="12192000" cy="211015"/>
            <a:chOff x="0" y="6496594"/>
            <a:chExt cx="11530148" cy="361406"/>
          </a:xfrm>
        </p:grpSpPr>
        <p:pic>
          <p:nvPicPr>
            <p:cNvPr id="19" name="Grafik 18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496594"/>
              <a:ext cx="5765074" cy="361406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0" name="Grafik 19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765074" y="6496594"/>
              <a:ext cx="5765074" cy="361406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6034" y="6442978"/>
            <a:ext cx="1346200" cy="236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86843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266561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1" y="0"/>
            <a:ext cx="12192528" cy="6858000"/>
          </a:xfrm>
          <a:prstGeom prst="rect">
            <a:avLst/>
          </a:prstGeom>
          <a:gradFill flip="none" rotWithShape="1">
            <a:gsLst>
              <a:gs pos="0">
                <a:srgbClr val="20242C"/>
              </a:gs>
              <a:gs pos="38000">
                <a:srgbClr val="2F3540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5309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2960342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155900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86" r:id="rId2"/>
    <p:sldLayoutId id="2147483690" r:id="rId3"/>
    <p:sldLayoutId id="2147483651" r:id="rId4"/>
    <p:sldLayoutId id="2147483691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.sv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chart" Target="../charts/chart25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5.xml"/><Relationship Id="rId5" Type="http://schemas.openxmlformats.org/officeDocument/2006/relationships/chart" Target="../charts/chart6.xml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Relationship Id="rId5" Type="http://schemas.openxmlformats.org/officeDocument/2006/relationships/chart" Target="../charts/chart9.xml"/><Relationship Id="rId4" Type="http://schemas.openxmlformats.org/officeDocument/2006/relationships/chart" Target="../charts/char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Relationship Id="rId5" Type="http://schemas.openxmlformats.org/officeDocument/2006/relationships/chart" Target="../charts/chart12.xml"/><Relationship Id="rId4" Type="http://schemas.openxmlformats.org/officeDocument/2006/relationships/chart" Target="../charts/chart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Relationship Id="rId5" Type="http://schemas.openxmlformats.org/officeDocument/2006/relationships/chart" Target="../charts/chart15.xml"/><Relationship Id="rId4" Type="http://schemas.openxmlformats.org/officeDocument/2006/relationships/chart" Target="../charts/char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Relationship Id="rId5" Type="http://schemas.openxmlformats.org/officeDocument/2006/relationships/chart" Target="../charts/chart18.xml"/><Relationship Id="rId4" Type="http://schemas.openxmlformats.org/officeDocument/2006/relationships/chart" Target="../charts/chart1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Relationship Id="rId5" Type="http://schemas.openxmlformats.org/officeDocument/2006/relationships/chart" Target="../charts/chart21.xml"/><Relationship Id="rId4" Type="http://schemas.openxmlformats.org/officeDocument/2006/relationships/chart" Target="../charts/chart2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Relationship Id="rId5" Type="http://schemas.openxmlformats.org/officeDocument/2006/relationships/chart" Target="../charts/chart24.xml"/><Relationship Id="rId4" Type="http://schemas.openxmlformats.org/officeDocument/2006/relationships/chart" Target="../charts/char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E94E9005-5D00-4519-B139-8A5A8638AB4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041" y="1105481"/>
            <a:ext cx="2522118" cy="443341"/>
          </a:xfrm>
          <a:prstGeom prst="rect">
            <a:avLst/>
          </a:prstGeom>
        </p:spPr>
      </p:pic>
      <p:sp>
        <p:nvSpPr>
          <p:cNvPr id="3" name="Rectangle 14">
            <a:extLst>
              <a:ext uri="{FF2B5EF4-FFF2-40B4-BE49-F238E27FC236}">
                <a16:creationId xmlns:a16="http://schemas.microsoft.com/office/drawing/2014/main" id="{7B20ADE1-C66E-4679-9F31-35EB2AD5C90A}"/>
              </a:ext>
            </a:extLst>
          </p:cNvPr>
          <p:cNvSpPr/>
          <p:nvPr/>
        </p:nvSpPr>
        <p:spPr>
          <a:xfrm>
            <a:off x="1069041" y="1860968"/>
            <a:ext cx="7824588" cy="29940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19" rIns="0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4000" b="0" i="0" u="none" strike="noStrike" kern="1200" cap="none" normalizeH="0" baseline="0" dirty="0">
                <a:ln>
                  <a:noFill/>
                </a:ln>
                <a:solidFill>
                  <a:srgbClr val="75829A"/>
                </a:solidFill>
                <a:effectLst/>
                <a:uLnTx/>
                <a:uFillTx/>
                <a:latin typeface="Open Sans Light"/>
                <a:ea typeface="Open Sans" panose="020B0606030504020204" pitchFamily="34" charset="0"/>
                <a:cs typeface="Open Sans" panose="020B0606030504020204" pitchFamily="34" charset="0"/>
              </a:rPr>
              <a:t>Gledanost televizijskog programa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hr-HR" dirty="0">
              <a:solidFill>
                <a:srgbClr val="FFFFFF"/>
              </a:solidFill>
              <a:latin typeface="Open Sans Extrabold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tx1">
                    <a:lumMod val="60000"/>
                    <a:lumOff val="40000"/>
                  </a:schemeClr>
                </a:solidFill>
                <a:latin typeface="Open Sans Extrabold"/>
                <a:ea typeface="Open Sans" panose="020B0606030504020204" pitchFamily="34" charset="0"/>
                <a:cs typeface="Open Sans" panose="020B0606030504020204" pitchFamily="34" charset="0"/>
              </a:rPr>
              <a:t>KOLOVOZ</a:t>
            </a:r>
            <a:r>
              <a:rPr lang="hr-HR" dirty="0">
                <a:solidFill>
                  <a:schemeClr val="tx1">
                    <a:lumMod val="60000"/>
                    <a:lumOff val="40000"/>
                  </a:schemeClr>
                </a:solidFill>
                <a:latin typeface="Open Sans Extrabold"/>
                <a:ea typeface="Open Sans" panose="020B0606030504020204" pitchFamily="34" charset="0"/>
                <a:cs typeface="Open Sans" panose="020B0606030504020204" pitchFamily="34" charset="0"/>
              </a:rPr>
              <a:t> 2022.</a:t>
            </a:r>
            <a:endParaRPr kumimoji="0" lang="hr-HR" b="0" i="0" u="none" strike="noStrike" kern="1200" cap="none" normalizeH="0" baseline="0" dirty="0">
              <a:ln>
                <a:noFill/>
              </a:ln>
              <a:solidFill>
                <a:schemeClr val="tx1">
                  <a:lumMod val="60000"/>
                  <a:lumOff val="40000"/>
                </a:schemeClr>
              </a:solidFill>
              <a:effectLst/>
              <a:uLnTx/>
              <a:uFillTx/>
              <a:latin typeface="Open Sans Extrabold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6CEB83A7-3EAC-4EED-B6E6-2CB59C7C56F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90499" y="1105481"/>
            <a:ext cx="2522118" cy="440611"/>
          </a:xfrm>
          <a:prstGeom prst="rect">
            <a:avLst/>
          </a:prstGeom>
        </p:spPr>
      </p:pic>
      <p:sp>
        <p:nvSpPr>
          <p:cNvPr id="11" name="Rectangle 14">
            <a:extLst>
              <a:ext uri="{FF2B5EF4-FFF2-40B4-BE49-F238E27FC236}">
                <a16:creationId xmlns:a16="http://schemas.microsoft.com/office/drawing/2014/main" id="{AC9E90FC-A16B-4F2F-AB71-1A15AFC0F4DF}"/>
              </a:ext>
            </a:extLst>
          </p:cNvPr>
          <p:cNvSpPr/>
          <p:nvPr/>
        </p:nvSpPr>
        <p:spPr>
          <a:xfrm>
            <a:off x="1069041" y="5508391"/>
            <a:ext cx="4442207" cy="29940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19" rIns="0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hr-HR" sz="1400" dirty="0">
                <a:solidFill>
                  <a:srgbClr val="75829A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Istraživanje provodi tvrtka AdScanner d.o.o. na uzorku od </a:t>
            </a:r>
            <a:r>
              <a:rPr lang="hr-HR" sz="14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1000 </a:t>
            </a:r>
            <a:r>
              <a:rPr lang="hr-HR" sz="1400" dirty="0">
                <a:solidFill>
                  <a:srgbClr val="75829A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kućanstava koja predstavljaju </a:t>
            </a:r>
            <a:r>
              <a:rPr lang="hr-HR" sz="14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720.000</a:t>
            </a:r>
            <a:r>
              <a:rPr lang="hr-HR" sz="1400" dirty="0">
                <a:solidFill>
                  <a:srgbClr val="75829A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hr-HR" sz="1400" dirty="0" err="1">
                <a:solidFill>
                  <a:srgbClr val="75829A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Pay</a:t>
            </a:r>
            <a:r>
              <a:rPr lang="hr-HR" sz="1400" dirty="0">
                <a:solidFill>
                  <a:srgbClr val="75829A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TV kućanstava u Republici Hrvatskoj.</a:t>
            </a:r>
          </a:p>
          <a:p>
            <a:pPr>
              <a:lnSpc>
                <a:spcPct val="90000"/>
              </a:lnSpc>
            </a:pPr>
            <a:endParaRPr lang="hr-HR" sz="1400" dirty="0">
              <a:solidFill>
                <a:srgbClr val="75829A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751C8F44-19FD-4506-B2CB-EF728F53C8BC}"/>
              </a:ext>
            </a:extLst>
          </p:cNvPr>
          <p:cNvGrpSpPr/>
          <p:nvPr/>
        </p:nvGrpSpPr>
        <p:grpSpPr>
          <a:xfrm>
            <a:off x="4111959" y="1105481"/>
            <a:ext cx="429985" cy="440611"/>
            <a:chOff x="5492964" y="838200"/>
            <a:chExt cx="429985" cy="751297"/>
          </a:xfrm>
        </p:grpSpPr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81E6EB18-B7DA-45A1-9553-632F98B1D2B2}"/>
                </a:ext>
              </a:extLst>
            </p:cNvPr>
            <p:cNvCxnSpPr/>
            <p:nvPr/>
          </p:nvCxnSpPr>
          <p:spPr>
            <a:xfrm>
              <a:off x="5492964" y="838200"/>
              <a:ext cx="429985" cy="751297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56F6E5A3-4246-42A5-8389-821C82EF124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492964" y="838200"/>
              <a:ext cx="429985" cy="751297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401050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690F0BC9-FFC5-4432-870F-DB42D0546F33}"/>
              </a:ext>
            </a:extLst>
          </p:cNvPr>
          <p:cNvSpPr/>
          <p:nvPr/>
        </p:nvSpPr>
        <p:spPr>
          <a:xfrm>
            <a:off x="-10367" y="0"/>
            <a:ext cx="2138576" cy="6858000"/>
          </a:xfrm>
          <a:prstGeom prst="rect">
            <a:avLst/>
          </a:prstGeom>
          <a:solidFill>
            <a:srgbClr val="1E23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Extrabold"/>
                <a:ea typeface="+mn-ea"/>
                <a:cs typeface="+mn-cs"/>
              </a:rPr>
              <a:t>KOMPARATIVNA ANALIZA PODATAKA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r-HR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U analizu su uključeni svi zemaljski i nezemaljski kanali</a:t>
            </a:r>
            <a:endParaRPr kumimoji="0" lang="hr-HR" sz="1100" b="0" i="0" u="none" strike="noStrike" kern="1200" cap="none" spc="0" normalizeH="0" baseline="0" noProof="0" dirty="0">
              <a:ln>
                <a:noFill/>
              </a:ln>
              <a:solidFill>
                <a:srgbClr val="5EC0ED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35CCB8A-9852-4618-9150-B37FD5519E1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412" y="6495781"/>
            <a:ext cx="1035530" cy="182027"/>
          </a:xfrm>
          <a:prstGeom prst="rect">
            <a:avLst/>
          </a:prstGeom>
        </p:spPr>
      </p:pic>
      <p:sp>
        <p:nvSpPr>
          <p:cNvPr id="18" name="Rectangle 14">
            <a:extLst>
              <a:ext uri="{FF2B5EF4-FFF2-40B4-BE49-F238E27FC236}">
                <a16:creationId xmlns:a16="http://schemas.microsoft.com/office/drawing/2014/main" id="{0F99F297-BDA2-43C9-9B22-D6A587715DE1}"/>
              </a:ext>
            </a:extLst>
          </p:cNvPr>
          <p:cNvSpPr/>
          <p:nvPr/>
        </p:nvSpPr>
        <p:spPr>
          <a:xfrm>
            <a:off x="5868148" y="595169"/>
            <a:ext cx="2138576" cy="32247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rgbClr val="75829A"/>
                </a:solidFill>
                <a:latin typeface="Open Sans Extrabold"/>
                <a:ea typeface="Open Sans" panose="020B0606030504020204" pitchFamily="34" charset="0"/>
                <a:cs typeface="Open Sans" panose="020B0606030504020204" pitchFamily="34" charset="0"/>
              </a:rPr>
              <a:t>RUJAN</a:t>
            </a:r>
            <a:r>
              <a:rPr kumimoji="0" lang="hr-HR" sz="900" b="0" i="0" u="none" strike="noStrike" kern="1200" cap="none" spc="0" normalizeH="0" baseline="0" noProof="0" dirty="0">
                <a:ln>
                  <a:noFill/>
                </a:ln>
                <a:solidFill>
                  <a:srgbClr val="75829A"/>
                </a:solidFill>
                <a:effectLst/>
                <a:uLnTx/>
                <a:uFillTx/>
                <a:latin typeface="Open Sans Extrabold"/>
                <a:ea typeface="Open Sans" panose="020B0606030504020204" pitchFamily="34" charset="0"/>
                <a:cs typeface="Open Sans" panose="020B0606030504020204" pitchFamily="34" charset="0"/>
              </a:rPr>
              <a:t> 2021. – </a:t>
            </a:r>
            <a:r>
              <a:rPr lang="en-US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KOLOVOZ</a:t>
            </a:r>
            <a:r>
              <a:rPr lang="hr-HR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hr-HR" sz="900" b="0" i="0" u="none" strike="noStrike" kern="1200" cap="none" spc="0" normalizeH="0" baseline="0" noProof="0" dirty="0">
                <a:ln>
                  <a:noFill/>
                </a:ln>
                <a:solidFill>
                  <a:srgbClr val="75829A"/>
                </a:solidFill>
                <a:effectLst/>
                <a:uLnTx/>
                <a:uFillTx/>
                <a:latin typeface="Open Sans Extrabold"/>
                <a:ea typeface="Open Sans" panose="020B0606030504020204" pitchFamily="34" charset="0"/>
                <a:cs typeface="Open Sans" panose="020B0606030504020204" pitchFamily="34" charset="0"/>
              </a:rPr>
              <a:t>2022. 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75829A"/>
              </a:solidFill>
              <a:effectLst/>
              <a:uLnTx/>
              <a:uFillTx/>
              <a:latin typeface="Open Sans Extrabold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28" name="Grafik 8">
            <a:extLst>
              <a:ext uri="{FF2B5EF4-FFF2-40B4-BE49-F238E27FC236}">
                <a16:creationId xmlns:a16="http://schemas.microsoft.com/office/drawing/2014/main" id="{6CE61FCD-B8FC-429B-8DA2-6F1CA5DFB3E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4655" y="6389773"/>
            <a:ext cx="1280246" cy="225044"/>
          </a:xfrm>
          <a:prstGeom prst="rect">
            <a:avLst/>
          </a:prstGeom>
        </p:spPr>
      </p:pic>
      <p:sp>
        <p:nvSpPr>
          <p:cNvPr id="30" name="Rectangle 14">
            <a:extLst>
              <a:ext uri="{FF2B5EF4-FFF2-40B4-BE49-F238E27FC236}">
                <a16:creationId xmlns:a16="http://schemas.microsoft.com/office/drawing/2014/main" id="{795AB9BD-4BAB-48A5-863F-003434BAD122}"/>
              </a:ext>
            </a:extLst>
          </p:cNvPr>
          <p:cNvSpPr/>
          <p:nvPr/>
        </p:nvSpPr>
        <p:spPr>
          <a:xfrm>
            <a:off x="2751869" y="6214511"/>
            <a:ext cx="4138245" cy="29940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19" rIns="0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Open Sans" panose="020B0606030504020204" pitchFamily="34" charset="0"/>
                <a:cs typeface="Open Sans" panose="020B0606030504020204" pitchFamily="34" charset="0"/>
              </a:rPr>
              <a:t>medium.com/</a:t>
            </a:r>
            <a:r>
              <a:rPr kumimoji="0" lang="en-US" sz="15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Open Sans" panose="020B0606030504020204" pitchFamily="34" charset="0"/>
                <a:cs typeface="Open Sans" panose="020B0606030504020204" pitchFamily="34" charset="0"/>
              </a:rPr>
              <a:t>adscanner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Open Sans" panose="020B0606030504020204" pitchFamily="34" charset="0"/>
                <a:cs typeface="Open Sans" panose="020B0606030504020204" pitchFamily="34" charset="0"/>
              </a:rPr>
              <a:t>twitter.com/</a:t>
            </a:r>
            <a:r>
              <a:rPr kumimoji="0" lang="en-US" sz="15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Open Sans" panose="020B0606030504020204" pitchFamily="34" charset="0"/>
                <a:cs typeface="Open Sans" panose="020B0606030504020204" pitchFamily="34" charset="0"/>
              </a:rPr>
              <a:t>adscannerdata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32" name="Picture 2" descr="https://cdn-images-1.medium.com/max/1600/1*emiGsBgJu2KHWyjluhKXQw.png">
            <a:extLst>
              <a:ext uri="{FF2B5EF4-FFF2-40B4-BE49-F238E27FC236}">
                <a16:creationId xmlns:a16="http://schemas.microsoft.com/office/drawing/2014/main" id="{36D0AAB5-2040-4FFE-BAB9-5A98EEEDC7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7311" y="6256347"/>
            <a:ext cx="252000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4" descr="Image result for twitter icon">
            <a:extLst>
              <a:ext uri="{FF2B5EF4-FFF2-40B4-BE49-F238E27FC236}">
                <a16:creationId xmlns:a16="http://schemas.microsoft.com/office/drawing/2014/main" id="{3756E231-11B1-48A7-9648-F29DE3C849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7311" y="6513915"/>
            <a:ext cx="252000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1">
            <a:extLst>
              <a:ext uri="{FF2B5EF4-FFF2-40B4-BE49-F238E27FC236}">
                <a16:creationId xmlns:a16="http://schemas.microsoft.com/office/drawing/2014/main" id="{63325490-1164-4089-8475-16331EB8F78F}"/>
              </a:ext>
            </a:extLst>
          </p:cNvPr>
          <p:cNvSpPr/>
          <p:nvPr/>
        </p:nvSpPr>
        <p:spPr>
          <a:xfrm>
            <a:off x="2372304" y="902871"/>
            <a:ext cx="574014" cy="21037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900" b="0" i="0" u="none" strike="noStrike" kern="1200" cap="none" spc="0" normalizeH="0" baseline="0" noProof="0" dirty="0">
                <a:ln>
                  <a:noFill/>
                </a:ln>
                <a:solidFill>
                  <a:srgbClr val="75829A"/>
                </a:solidFill>
                <a:effectLst/>
                <a:uLnTx/>
                <a:uFillTx/>
                <a:latin typeface="Open Sans Extrabold"/>
                <a:ea typeface="Open Sans" panose="020B0606030504020204" pitchFamily="34" charset="0"/>
                <a:cs typeface="Open Sans" panose="020B0606030504020204" pitchFamily="34" charset="0"/>
              </a:rPr>
              <a:t>MIN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75829A"/>
              </a:solidFill>
              <a:effectLst/>
              <a:uLnTx/>
              <a:uFillTx/>
              <a:latin typeface="Open Sans Extrabold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aphicFrame>
        <p:nvGraphicFramePr>
          <p:cNvPr id="20" name="Grafikon 19">
            <a:extLst>
              <a:ext uri="{FF2B5EF4-FFF2-40B4-BE49-F238E27FC236}">
                <a16:creationId xmlns:a16="http://schemas.microsoft.com/office/drawing/2014/main" id="{8542C7B1-CAD2-4DFB-A413-E3E175AE3CF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27077040"/>
              </p:ext>
            </p:extLst>
          </p:nvPr>
        </p:nvGraphicFramePr>
        <p:xfrm>
          <a:off x="2314988" y="1127481"/>
          <a:ext cx="9308439" cy="45399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1" name="Rectangle 1">
            <a:extLst>
              <a:ext uri="{FF2B5EF4-FFF2-40B4-BE49-F238E27FC236}">
                <a16:creationId xmlns:a16="http://schemas.microsoft.com/office/drawing/2014/main" id="{6186077E-C373-42D5-B34E-554FABAE6D15}"/>
              </a:ext>
            </a:extLst>
          </p:cNvPr>
          <p:cNvSpPr/>
          <p:nvPr/>
        </p:nvSpPr>
        <p:spPr>
          <a:xfrm>
            <a:off x="11180036" y="917647"/>
            <a:ext cx="574014" cy="21037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900" b="0" i="0" u="none" strike="noStrike" kern="1200" cap="none" spc="0" normalizeH="0" baseline="0" noProof="0" dirty="0">
                <a:ln>
                  <a:noFill/>
                </a:ln>
                <a:solidFill>
                  <a:srgbClr val="75829A"/>
                </a:solidFill>
                <a:effectLst/>
                <a:uLnTx/>
                <a:uFillTx/>
                <a:latin typeface="Open Sans Extrabold"/>
                <a:ea typeface="Open Sans" panose="020B0606030504020204" pitchFamily="34" charset="0"/>
                <a:cs typeface="Open Sans" panose="020B0606030504020204" pitchFamily="34" charset="0"/>
              </a:rPr>
              <a:t>AMR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75829A"/>
              </a:solidFill>
              <a:effectLst/>
              <a:uLnTx/>
              <a:uFillTx/>
              <a:latin typeface="Open Sans Extrabold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40034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975761D5-DFA6-4DCC-966B-BD7E3A573E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2492575"/>
              </p:ext>
            </p:extLst>
          </p:nvPr>
        </p:nvGraphicFramePr>
        <p:xfrm>
          <a:off x="2868194" y="1117953"/>
          <a:ext cx="8562057" cy="529029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82057">
                  <a:extLst>
                    <a:ext uri="{9D8B030D-6E8A-4147-A177-3AD203B41FA5}">
                      <a16:colId xmlns:a16="http://schemas.microsoft.com/office/drawing/2014/main" val="834878363"/>
                    </a:ext>
                  </a:extLst>
                </a:gridCol>
                <a:gridCol w="1987806">
                  <a:extLst>
                    <a:ext uri="{9D8B030D-6E8A-4147-A177-3AD203B41FA5}">
                      <a16:colId xmlns:a16="http://schemas.microsoft.com/office/drawing/2014/main" val="3315234576"/>
                    </a:ext>
                  </a:extLst>
                </a:gridCol>
                <a:gridCol w="6292194">
                  <a:extLst>
                    <a:ext uri="{9D8B030D-6E8A-4147-A177-3AD203B41FA5}">
                      <a16:colId xmlns:a16="http://schemas.microsoft.com/office/drawing/2014/main" val="3418007403"/>
                    </a:ext>
                  </a:extLst>
                </a:gridCol>
              </a:tblGrid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44500" indent="0"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871224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2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44500" indent="0"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06685366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3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44500" indent="0"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TL TELEVIZIJ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64802509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4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44500" indent="0"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25486137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5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44500" indent="0"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OMA TV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6208142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6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44500" indent="0"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TL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97617159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7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44500" indent="0"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ICKELODEON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73427743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8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44500" indent="0"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4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86765869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9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444500" algn="l" fontAlgn="b">
                        <a:tabLst>
                          <a:tab pos="444500" algn="l"/>
                        </a:tabLst>
                      </a:pP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6342283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0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44500" indent="0"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TL KOCKIC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71380775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1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444500"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OX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66093980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2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44450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ICK JR (HR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82884498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3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446088"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ATIONAL GEOGRAPHIC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8452615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4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444500"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3860801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5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539750" indent="-77788"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9464736"/>
                  </a:ext>
                </a:extLst>
              </a:tr>
            </a:tbl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690F0BC9-FFC5-4432-870F-DB42D0546F33}"/>
              </a:ext>
            </a:extLst>
          </p:cNvPr>
          <p:cNvSpPr/>
          <p:nvPr/>
        </p:nvSpPr>
        <p:spPr>
          <a:xfrm>
            <a:off x="0" y="0"/>
            <a:ext cx="2138576" cy="6858000"/>
          </a:xfrm>
          <a:prstGeom prst="rect">
            <a:avLst/>
          </a:prstGeom>
          <a:solidFill>
            <a:srgbClr val="1E23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rtlCol="0" anchor="t"/>
          <a:lstStyle/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LISTA TOP 15 NAJGLEDANIJIH TELEVIZIJSKIH KANALA </a:t>
            </a: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NA 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CIJELOM DANU</a:t>
            </a:r>
            <a:r>
              <a:rPr lang="hr-HR" sz="1100" dirty="0">
                <a:solidFill>
                  <a:srgbClr val="5EC0ED"/>
                </a:solidFill>
                <a:latin typeface="Open Sans Extrabold"/>
              </a:rPr>
              <a:t>:</a:t>
            </a: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SVI TELEVIZIJSKI KANALI</a:t>
            </a:r>
          </a:p>
          <a:p>
            <a:pPr lvl="0">
              <a:lnSpc>
                <a:spcPct val="90000"/>
              </a:lnSpc>
              <a:defRPr/>
            </a:pPr>
            <a:endParaRPr lang="hr-HR" sz="11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</a:rPr>
              <a:t>U analizu su uključeni svi zemaljski i nezemaljski kanali</a:t>
            </a:r>
            <a:endParaRPr kumimoji="0" lang="hr-HR" sz="1100" b="0" i="0" u="none" strike="noStrike" kern="1200" cap="none" spc="0" normalizeH="0" baseline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Open Sans Light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35CCB8A-9852-4618-9150-B37FD5519E1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412" y="6495781"/>
            <a:ext cx="1035530" cy="182027"/>
          </a:xfrm>
          <a:prstGeom prst="rect">
            <a:avLst/>
          </a:prstGeom>
        </p:spPr>
      </p:pic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FA4AA757-2245-4D7E-9967-CB23D886516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71568364"/>
              </p:ext>
            </p:extLst>
          </p:nvPr>
        </p:nvGraphicFramePr>
        <p:xfrm>
          <a:off x="5552879" y="1117954"/>
          <a:ext cx="1944000" cy="52902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3781C6FF-03C0-4664-8D70-76A31B0B28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61649236"/>
              </p:ext>
            </p:extLst>
          </p:nvPr>
        </p:nvGraphicFramePr>
        <p:xfrm>
          <a:off x="7585273" y="1117950"/>
          <a:ext cx="1944000" cy="52902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" name="Diagramm 11">
            <a:extLst>
              <a:ext uri="{FF2B5EF4-FFF2-40B4-BE49-F238E27FC236}">
                <a16:creationId xmlns:a16="http://schemas.microsoft.com/office/drawing/2014/main" id="{F85A016E-91E4-4FA9-AC6E-4FF7382064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2584244"/>
              </p:ext>
            </p:extLst>
          </p:nvPr>
        </p:nvGraphicFramePr>
        <p:xfrm>
          <a:off x="9617667" y="1117949"/>
          <a:ext cx="1944000" cy="52902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7" name="Rectangle 14">
            <a:extLst>
              <a:ext uri="{FF2B5EF4-FFF2-40B4-BE49-F238E27FC236}">
                <a16:creationId xmlns:a16="http://schemas.microsoft.com/office/drawing/2014/main" id="{ADC961B4-B59A-4836-812F-EF8E26AC2889}"/>
              </a:ext>
            </a:extLst>
          </p:cNvPr>
          <p:cNvSpPr/>
          <p:nvPr/>
        </p:nvSpPr>
        <p:spPr>
          <a:xfrm>
            <a:off x="3107748" y="886251"/>
            <a:ext cx="1583732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KOLOVOZ</a:t>
            </a:r>
            <a:r>
              <a:rPr lang="hr-HR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2022.</a:t>
            </a:r>
            <a:endParaRPr lang="de-DE" sz="900" dirty="0">
              <a:solidFill>
                <a:srgbClr val="75829A"/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" name="Rectangle 14">
            <a:extLst>
              <a:ext uri="{FF2B5EF4-FFF2-40B4-BE49-F238E27FC236}">
                <a16:creationId xmlns:a16="http://schemas.microsoft.com/office/drawing/2014/main" id="{91B7353B-9BA3-408D-A9D5-9D970B69D8E8}"/>
              </a:ext>
            </a:extLst>
          </p:cNvPr>
          <p:cNvSpPr/>
          <p:nvPr/>
        </p:nvSpPr>
        <p:spPr>
          <a:xfrm>
            <a:off x="5552879" y="886251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(R)SHARE</a:t>
            </a:r>
          </a:p>
        </p:txBody>
      </p:sp>
      <p:sp>
        <p:nvSpPr>
          <p:cNvPr id="19" name="Rectangle 14">
            <a:extLst>
              <a:ext uri="{FF2B5EF4-FFF2-40B4-BE49-F238E27FC236}">
                <a16:creationId xmlns:a16="http://schemas.microsoft.com/office/drawing/2014/main" id="{97D00EDC-9529-40CD-B57A-333BDB211856}"/>
              </a:ext>
            </a:extLst>
          </p:cNvPr>
          <p:cNvSpPr/>
          <p:nvPr/>
        </p:nvSpPr>
        <p:spPr>
          <a:xfrm>
            <a:off x="7585273" y="886251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5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AMR</a:t>
            </a:r>
          </a:p>
        </p:txBody>
      </p:sp>
      <p:sp>
        <p:nvSpPr>
          <p:cNvPr id="20" name="Rectangle 14">
            <a:extLst>
              <a:ext uri="{FF2B5EF4-FFF2-40B4-BE49-F238E27FC236}">
                <a16:creationId xmlns:a16="http://schemas.microsoft.com/office/drawing/2014/main" id="{9F9B83CD-360B-4E9E-ADBA-8F461E4C5C59}"/>
              </a:ext>
            </a:extLst>
          </p:cNvPr>
          <p:cNvSpPr/>
          <p:nvPr/>
        </p:nvSpPr>
        <p:spPr>
          <a:xfrm>
            <a:off x="9617667" y="886251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hr-HR" sz="900" dirty="0">
                <a:solidFill>
                  <a:schemeClr val="accent3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COVERAGE</a:t>
            </a:r>
          </a:p>
        </p:txBody>
      </p:sp>
    </p:spTree>
    <p:extLst>
      <p:ext uri="{BB962C8B-B14F-4D97-AF65-F5344CB8AC3E}">
        <p14:creationId xmlns:p14="http://schemas.microsoft.com/office/powerpoint/2010/main" val="12427225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975761D5-DFA6-4DCC-966B-BD7E3A573E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7299316"/>
              </p:ext>
            </p:extLst>
          </p:nvPr>
        </p:nvGraphicFramePr>
        <p:xfrm>
          <a:off x="2859805" y="1119406"/>
          <a:ext cx="8562057" cy="53562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82057">
                  <a:extLst>
                    <a:ext uri="{9D8B030D-6E8A-4147-A177-3AD203B41FA5}">
                      <a16:colId xmlns:a16="http://schemas.microsoft.com/office/drawing/2014/main" val="834878363"/>
                    </a:ext>
                  </a:extLst>
                </a:gridCol>
                <a:gridCol w="2403261">
                  <a:extLst>
                    <a:ext uri="{9D8B030D-6E8A-4147-A177-3AD203B41FA5}">
                      <a16:colId xmlns:a16="http://schemas.microsoft.com/office/drawing/2014/main" val="3315234576"/>
                    </a:ext>
                  </a:extLst>
                </a:gridCol>
                <a:gridCol w="2021747">
                  <a:extLst>
                    <a:ext uri="{9D8B030D-6E8A-4147-A177-3AD203B41FA5}">
                      <a16:colId xmlns:a16="http://schemas.microsoft.com/office/drawing/2014/main" val="3152481412"/>
                    </a:ext>
                  </a:extLst>
                </a:gridCol>
                <a:gridCol w="2030135">
                  <a:extLst>
                    <a:ext uri="{9D8B030D-6E8A-4147-A177-3AD203B41FA5}">
                      <a16:colId xmlns:a16="http://schemas.microsoft.com/office/drawing/2014/main" val="1162643521"/>
                    </a:ext>
                  </a:extLst>
                </a:gridCol>
                <a:gridCol w="1824857">
                  <a:extLst>
                    <a:ext uri="{9D8B030D-6E8A-4147-A177-3AD203B41FA5}">
                      <a16:colId xmlns:a16="http://schemas.microsoft.com/office/drawing/2014/main" val="1952878246"/>
                    </a:ext>
                  </a:extLst>
                </a:gridCol>
              </a:tblGrid>
              <a:tr h="357084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44500" indent="0"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ICKELODEON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871224"/>
                  </a:ext>
                </a:extLst>
              </a:tr>
              <a:tr h="357084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2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44500" indent="0"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06685366"/>
                  </a:ext>
                </a:extLst>
              </a:tr>
              <a:tr h="357084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3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44500" indent="0"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OX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64802509"/>
                  </a:ext>
                </a:extLst>
              </a:tr>
              <a:tr h="357084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4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44500" indent="0"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ICK JR (HR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25486137"/>
                  </a:ext>
                </a:extLst>
              </a:tr>
              <a:tr h="357084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5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44500" indent="0"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ATIONAL GEOGRAPHIC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6208142"/>
                  </a:ext>
                </a:extLst>
              </a:tr>
              <a:tr h="357084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6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44500" indent="0"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97617159"/>
                  </a:ext>
                </a:extLst>
              </a:tr>
              <a:tr h="357084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7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44500" indent="0"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ICKBOX TV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73427743"/>
                  </a:ext>
                </a:extLst>
              </a:tr>
              <a:tr h="357084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8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44500" indent="0"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86765869"/>
                  </a:ext>
                </a:extLst>
              </a:tr>
              <a:tr h="357084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9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44500" indent="0"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 ACTION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6342283"/>
                  </a:ext>
                </a:extLst>
              </a:tr>
              <a:tr h="357084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0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44500" indent="0"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OX LIFE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71380775"/>
                  </a:ext>
                </a:extLst>
              </a:tr>
              <a:tr h="357084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1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44500" indent="0"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OX CRIME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66093980"/>
                  </a:ext>
                </a:extLst>
              </a:tr>
              <a:tr h="357084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2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44500" indent="0"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OX MOVIES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82884498"/>
                  </a:ext>
                </a:extLst>
              </a:tr>
              <a:tr h="357084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3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44500" indent="0"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BO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8452615"/>
                  </a:ext>
                </a:extLst>
              </a:tr>
              <a:tr h="357084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4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44500" indent="0"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BO 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3860801"/>
                  </a:ext>
                </a:extLst>
              </a:tr>
              <a:tr h="357084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5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357188"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ATIONAL GEOGRAPHIC WILD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9464736"/>
                  </a:ext>
                </a:extLst>
              </a:tr>
            </a:tbl>
          </a:graphicData>
        </a:graphic>
      </p:graphicFrame>
      <p:graphicFrame>
        <p:nvGraphicFramePr>
          <p:cNvPr id="12" name="Diagramm 11">
            <a:extLst>
              <a:ext uri="{FF2B5EF4-FFF2-40B4-BE49-F238E27FC236}">
                <a16:creationId xmlns:a16="http://schemas.microsoft.com/office/drawing/2014/main" id="{F85A016E-91E4-4FA9-AC6E-4FF7382064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6392310"/>
              </p:ext>
            </p:extLst>
          </p:nvPr>
        </p:nvGraphicFramePr>
        <p:xfrm>
          <a:off x="9609278" y="1126035"/>
          <a:ext cx="1944000" cy="53562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FA4AA757-2245-4D7E-9967-CB23D886516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47501714"/>
              </p:ext>
            </p:extLst>
          </p:nvPr>
        </p:nvGraphicFramePr>
        <p:xfrm>
          <a:off x="5544490" y="1119406"/>
          <a:ext cx="1944000" cy="53628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690F0BC9-FFC5-4432-870F-DB42D0546F33}"/>
              </a:ext>
            </a:extLst>
          </p:cNvPr>
          <p:cNvSpPr/>
          <p:nvPr/>
        </p:nvSpPr>
        <p:spPr>
          <a:xfrm>
            <a:off x="0" y="0"/>
            <a:ext cx="2138576" cy="6858000"/>
          </a:xfrm>
          <a:prstGeom prst="rect">
            <a:avLst/>
          </a:prstGeom>
          <a:solidFill>
            <a:srgbClr val="1E23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rtlCol="0" anchor="t"/>
          <a:lstStyle/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bg1"/>
                </a:solidFill>
                <a:latin typeface="Open Sans Extrabold"/>
              </a:rPr>
              <a:t>LISTA TOP 15 NAJGLEDANIJIH </a:t>
            </a: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TELEVIZIJSKIH KANALA </a:t>
            </a: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NA 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CIJELOM DANU</a:t>
            </a:r>
            <a:r>
              <a:rPr lang="hr-HR" sz="1100" dirty="0">
                <a:solidFill>
                  <a:srgbClr val="5EC0ED"/>
                </a:solidFill>
                <a:latin typeface="Open Sans Extrabold"/>
              </a:rPr>
              <a:t>:</a:t>
            </a:r>
          </a:p>
          <a:p>
            <a:pPr lvl="0">
              <a:lnSpc>
                <a:spcPct val="90000"/>
              </a:lnSpc>
              <a:defRPr/>
            </a:pPr>
            <a:r>
              <a:rPr lang="en-US" sz="1100" dirty="0">
                <a:solidFill>
                  <a:schemeClr val="accent2"/>
                </a:solidFill>
                <a:latin typeface="Open Sans Extrabold"/>
              </a:rPr>
              <a:t>NEZEMALJSKI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 TELEVIZIJSKI KANALI</a:t>
            </a:r>
          </a:p>
          <a:p>
            <a:pPr lvl="0">
              <a:lnSpc>
                <a:spcPct val="90000"/>
              </a:lnSpc>
              <a:defRPr/>
            </a:pPr>
            <a:endParaRPr lang="hr-HR" sz="11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</a:rPr>
              <a:t>U analizu su uključeni svi nezemaljski kanali</a:t>
            </a:r>
            <a:r>
              <a:rPr lang="en-US" sz="1100" dirty="0">
                <a:solidFill>
                  <a:srgbClr val="FFFFFF"/>
                </a:solidFill>
              </a:rPr>
              <a:t>.</a:t>
            </a:r>
            <a:endParaRPr kumimoji="0" lang="hr-HR" sz="1100" b="0" i="0" u="none" strike="noStrike" kern="1200" cap="none" spc="0" normalizeH="0" baseline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Open Sans Light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35CCB8A-9852-4618-9150-B37FD5519E1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412" y="6495781"/>
            <a:ext cx="1035530" cy="182027"/>
          </a:xfrm>
          <a:prstGeom prst="rect">
            <a:avLst/>
          </a:prstGeom>
        </p:spPr>
      </p:pic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3781C6FF-03C0-4664-8D70-76A31B0B28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33380010"/>
              </p:ext>
            </p:extLst>
          </p:nvPr>
        </p:nvGraphicFramePr>
        <p:xfrm>
          <a:off x="7576884" y="1126035"/>
          <a:ext cx="1944000" cy="53562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3" name="Rectangle 14">
            <a:extLst>
              <a:ext uri="{FF2B5EF4-FFF2-40B4-BE49-F238E27FC236}">
                <a16:creationId xmlns:a16="http://schemas.microsoft.com/office/drawing/2014/main" id="{A33F9945-5401-451A-8279-56C9261A85D5}"/>
              </a:ext>
            </a:extLst>
          </p:cNvPr>
          <p:cNvSpPr/>
          <p:nvPr/>
        </p:nvSpPr>
        <p:spPr>
          <a:xfrm>
            <a:off x="5556000" y="893415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(R)SHARE</a:t>
            </a:r>
          </a:p>
        </p:txBody>
      </p:sp>
      <p:sp>
        <p:nvSpPr>
          <p:cNvPr id="14" name="Rectangle 14">
            <a:extLst>
              <a:ext uri="{FF2B5EF4-FFF2-40B4-BE49-F238E27FC236}">
                <a16:creationId xmlns:a16="http://schemas.microsoft.com/office/drawing/2014/main" id="{E3A0728E-4D9A-468D-8867-1ACD748C4B75}"/>
              </a:ext>
            </a:extLst>
          </p:cNvPr>
          <p:cNvSpPr/>
          <p:nvPr/>
        </p:nvSpPr>
        <p:spPr>
          <a:xfrm>
            <a:off x="7585273" y="893415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5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AMR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3F18D2B-8E66-4096-8FD4-52096F8B0DF1}"/>
              </a:ext>
            </a:extLst>
          </p:cNvPr>
          <p:cNvSpPr/>
          <p:nvPr/>
        </p:nvSpPr>
        <p:spPr>
          <a:xfrm>
            <a:off x="9614546" y="893415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hr-HR" sz="900" dirty="0">
                <a:solidFill>
                  <a:schemeClr val="accent3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COVERAGE</a:t>
            </a:r>
            <a:endParaRPr lang="de-DE" sz="900" dirty="0">
              <a:solidFill>
                <a:schemeClr val="accent3"/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" name="Rectangle 14">
            <a:extLst>
              <a:ext uri="{FF2B5EF4-FFF2-40B4-BE49-F238E27FC236}">
                <a16:creationId xmlns:a16="http://schemas.microsoft.com/office/drawing/2014/main" id="{0F99F297-BDA2-43C9-9B22-D6A587715DE1}"/>
              </a:ext>
            </a:extLst>
          </p:cNvPr>
          <p:cNvSpPr/>
          <p:nvPr/>
        </p:nvSpPr>
        <p:spPr>
          <a:xfrm>
            <a:off x="3109888" y="893415"/>
            <a:ext cx="1569665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KOLOVOZ</a:t>
            </a:r>
            <a:r>
              <a:rPr lang="hr-HR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2022.</a:t>
            </a:r>
            <a:endParaRPr lang="de-DE" sz="900" dirty="0">
              <a:solidFill>
                <a:srgbClr val="75829A"/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7131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975761D5-DFA6-4DCC-966B-BD7E3A573E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7579653"/>
              </p:ext>
            </p:extLst>
          </p:nvPr>
        </p:nvGraphicFramePr>
        <p:xfrm>
          <a:off x="2804528" y="764452"/>
          <a:ext cx="8562058" cy="578250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90136">
                  <a:extLst>
                    <a:ext uri="{9D8B030D-6E8A-4147-A177-3AD203B41FA5}">
                      <a16:colId xmlns:a16="http://schemas.microsoft.com/office/drawing/2014/main" val="834878363"/>
                    </a:ext>
                  </a:extLst>
                </a:gridCol>
                <a:gridCol w="754173">
                  <a:extLst>
                    <a:ext uri="{9D8B030D-6E8A-4147-A177-3AD203B41FA5}">
                      <a16:colId xmlns:a16="http://schemas.microsoft.com/office/drawing/2014/main" val="3315234576"/>
                    </a:ext>
                  </a:extLst>
                </a:gridCol>
                <a:gridCol w="1062797">
                  <a:extLst>
                    <a:ext uri="{9D8B030D-6E8A-4147-A177-3AD203B41FA5}">
                      <a16:colId xmlns:a16="http://schemas.microsoft.com/office/drawing/2014/main" val="1066211400"/>
                    </a:ext>
                  </a:extLst>
                </a:gridCol>
                <a:gridCol w="1915886">
                  <a:extLst>
                    <a:ext uri="{9D8B030D-6E8A-4147-A177-3AD203B41FA5}">
                      <a16:colId xmlns:a16="http://schemas.microsoft.com/office/drawing/2014/main" val="2266377699"/>
                    </a:ext>
                  </a:extLst>
                </a:gridCol>
                <a:gridCol w="4539066">
                  <a:extLst>
                    <a:ext uri="{9D8B030D-6E8A-4147-A177-3AD203B41FA5}">
                      <a16:colId xmlns:a16="http://schemas.microsoft.com/office/drawing/2014/main" val="3050855848"/>
                    </a:ext>
                  </a:extLst>
                </a:gridCol>
              </a:tblGrid>
              <a:tr h="398649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</a:t>
                      </a:r>
                      <a:endParaRPr lang="hr-HR" sz="900" b="0" i="0" u="none" strike="noStrike" noProof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5.8.202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56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Konferencijsk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ig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-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oigravanje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Hajduk - Villarreal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hr-HR" sz="12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871224"/>
                  </a:ext>
                </a:extLst>
              </a:tr>
              <a:tr h="392788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2</a:t>
                      </a:r>
                      <a:endParaRPr lang="hr-HR" sz="900" b="0" i="0" u="none" strike="noStrike" noProof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4.8.202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52 LP -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oigravanje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Dinamo -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odø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Glimt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hr-HR" sz="1200" b="0" i="0" u="none" strike="noStrike" kern="1200" noProof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06685366"/>
                  </a:ext>
                </a:extLst>
              </a:tr>
              <a:tr h="392788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3</a:t>
                      </a:r>
                      <a:endParaRPr lang="hr-HR" sz="900" b="0" i="0" u="none" strike="noStrike" noProof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8.8.202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40 Konferencijska liga: doigravanje: Villareal - Hajduk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hr-HR" sz="1200" b="0" i="0" u="none" strike="noStrike" kern="1200" noProof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64802509"/>
                  </a:ext>
                </a:extLst>
              </a:tr>
              <a:tr h="377840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4</a:t>
                      </a:r>
                      <a:endParaRPr lang="hr-HR" sz="900" b="0" i="0" u="none" strike="noStrike" noProof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6.8.202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LP: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odø</a:t>
                      </a:r>
                      <a:r>
                        <a:rPr lang="nl-NL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Glimt - Dinamo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hr-HR" sz="1200" b="0" i="0" u="none" strike="noStrike" kern="1200" noProof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25486137"/>
                  </a:ext>
                </a:extLst>
              </a:tr>
              <a:tr h="398649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5</a:t>
                      </a:r>
                      <a:endParaRPr lang="hr-HR" sz="900" b="0" i="0" u="none" strike="noStrike" noProof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4.8.202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3:41 Liga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rvak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–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oigravanje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misija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hr-HR" sz="1200" b="0" i="0" u="none" strike="noStrike" kern="1200" noProof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6208142"/>
                  </a:ext>
                </a:extLst>
              </a:tr>
              <a:tr h="377840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6</a:t>
                      </a:r>
                      <a:endParaRPr lang="hr-HR" sz="900" b="0" i="0" u="none" strike="noStrike" noProof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5.8.202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2:00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nevnik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hr-HR" sz="1200" b="0" i="0" u="none" strike="noStrike" kern="1200" noProof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97617159"/>
                  </a:ext>
                </a:extLst>
              </a:tr>
              <a:tr h="377840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7</a:t>
                      </a:r>
                      <a:endParaRPr lang="hr-HR" sz="900" b="0" i="0" u="none" strike="noStrike" noProof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1.8.202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8:11 Potjer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hr-HR" sz="1200" b="0" i="0" u="none" strike="noStrike" kern="1200" noProof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73427743"/>
                  </a:ext>
                </a:extLst>
              </a:tr>
              <a:tr h="377840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8</a:t>
                      </a:r>
                      <a:endParaRPr lang="hr-HR" sz="900" b="0" i="0" u="none" strike="noStrike" noProof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0.8.202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20 Kumovi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hr-HR" sz="1200" b="0" i="0" u="none" strike="noStrike" kern="1200" noProof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86765869"/>
                  </a:ext>
                </a:extLst>
              </a:tr>
              <a:tr h="377840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9</a:t>
                      </a:r>
                      <a:endParaRPr lang="hr-HR" sz="900" b="0" i="0" u="none" strike="noStrike" noProof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.8.202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6:20 307.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injsk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lka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hr-HR" sz="1200" b="0" i="0" u="none" strike="noStrike" kern="1200" noProof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6342283"/>
                  </a:ext>
                </a:extLst>
              </a:tr>
              <a:tr h="392788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0</a:t>
                      </a:r>
                      <a:endParaRPr lang="hr-HR" sz="900" b="0" i="0" u="none" strike="noStrike" noProof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.8.202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9:00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nevnik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hr-HR" sz="1200" b="0" i="0" u="none" strike="noStrike" kern="1200" noProof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71380775"/>
                  </a:ext>
                </a:extLst>
              </a:tr>
              <a:tr h="392788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1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8.8.202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9:15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nevnik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e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TV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hr-HR" sz="1200" b="0" i="0" u="none" strike="noStrike" kern="1200" noProof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66093980"/>
                  </a:ext>
                </a:extLst>
              </a:tr>
              <a:tr h="377840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2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.8.202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i-FI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54 Helsinki: Europski nogometni superkup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hr-HR" sz="1200" b="0" i="0" u="none" strike="noStrike" kern="1200" noProof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82884498"/>
                  </a:ext>
                </a:extLst>
              </a:tr>
              <a:tr h="392788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3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9.8.202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TL TELEVIZIJ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9:00 RTL Danas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hr-HR" sz="1200" b="0" i="0" u="none" strike="noStrike" kern="1200" noProof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8452615"/>
                  </a:ext>
                </a:extLst>
              </a:tr>
              <a:tr h="377840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4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8.8.202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7:00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ijesti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e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TV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hr-HR" sz="1200" b="0" i="0" u="none" strike="noStrike" kern="1200" noProof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3860801"/>
                  </a:ext>
                </a:extLst>
              </a:tr>
              <a:tr h="376390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5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8.8.202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7:30 IN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magazin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hr-HR" sz="120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9464736"/>
                  </a:ext>
                </a:extLst>
              </a:tr>
            </a:tbl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690F0BC9-FFC5-4432-870F-DB42D0546F33}"/>
              </a:ext>
            </a:extLst>
          </p:cNvPr>
          <p:cNvSpPr/>
          <p:nvPr/>
        </p:nvSpPr>
        <p:spPr>
          <a:xfrm>
            <a:off x="10712" y="0"/>
            <a:ext cx="2138576" cy="6858000"/>
          </a:xfrm>
          <a:prstGeom prst="rect">
            <a:avLst/>
          </a:prstGeom>
          <a:solidFill>
            <a:srgbClr val="1E23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rtlCol="0" anchor="t"/>
          <a:lstStyle/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bg1"/>
                </a:solidFill>
                <a:latin typeface="Open Sans Extrabold"/>
              </a:rPr>
              <a:t>LISTA TOP 15 NAJGLEDANIJIH </a:t>
            </a:r>
            <a:r>
              <a:rPr lang="en-US" sz="1100" dirty="0">
                <a:solidFill>
                  <a:schemeClr val="accent4"/>
                </a:solidFill>
                <a:latin typeface="Open Sans Extrabold"/>
              </a:rPr>
              <a:t>EMISIJA</a:t>
            </a:r>
            <a:endParaRPr lang="hr-HR" sz="1100" dirty="0">
              <a:solidFill>
                <a:schemeClr val="accent4"/>
              </a:solidFill>
              <a:latin typeface="Open Sans Extrabold"/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NA 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CIJELOM DANU:</a:t>
            </a: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SVI TELEVIZIJSKI KANALI</a:t>
            </a:r>
          </a:p>
          <a:p>
            <a:pPr lvl="0">
              <a:lnSpc>
                <a:spcPct val="90000"/>
              </a:lnSpc>
              <a:defRPr/>
            </a:pPr>
            <a:endParaRPr lang="hr-HR" sz="11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</a:rPr>
              <a:t>U analizu su uključeni svi zemaljski i nezemaljski kanali</a:t>
            </a:r>
            <a:endParaRPr lang="hr-HR" sz="1100" dirty="0">
              <a:solidFill>
                <a:schemeClr val="accent2"/>
              </a:solidFill>
            </a:endParaRPr>
          </a:p>
          <a:p>
            <a:pPr lvl="0">
              <a:lnSpc>
                <a:spcPct val="90000"/>
              </a:lnSpc>
              <a:defRPr/>
            </a:pPr>
            <a:endParaRPr kumimoji="0" lang="en-US" sz="1100" b="0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bg1"/>
                </a:solidFill>
              </a:rPr>
              <a:t>U listu najgledanijih emisija ne ulaze duplicirani programi i programi kraći od 15 min. Ako program ima više od jednog emitiranja</a:t>
            </a:r>
            <a:r>
              <a:rPr lang="en-US" sz="1100" dirty="0">
                <a:solidFill>
                  <a:schemeClr val="bg1"/>
                </a:solidFill>
              </a:rPr>
              <a:t>,</a:t>
            </a:r>
            <a:r>
              <a:rPr lang="hr-HR" sz="1100" dirty="0">
                <a:solidFill>
                  <a:schemeClr val="bg1"/>
                </a:solidFill>
              </a:rPr>
              <a:t> u izvještaju je naveden najgledaniji sadržaj. </a:t>
            </a:r>
            <a:endParaRPr kumimoji="0" lang="hr-HR" sz="1100" b="0" i="0" u="none" strike="noStrike" kern="120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ns Light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35CCB8A-9852-4618-9150-B37FD5519E1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412" y="6495781"/>
            <a:ext cx="1035530" cy="182027"/>
          </a:xfrm>
          <a:prstGeom prst="rect">
            <a:avLst/>
          </a:prstGeom>
        </p:spPr>
      </p:pic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FA4AA757-2245-4D7E-9967-CB23D886516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08292536"/>
              </p:ext>
            </p:extLst>
          </p:nvPr>
        </p:nvGraphicFramePr>
        <p:xfrm>
          <a:off x="6885446" y="765199"/>
          <a:ext cx="1872000" cy="57810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3781C6FF-03C0-4664-8D70-76A31B0B28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7605283"/>
              </p:ext>
            </p:extLst>
          </p:nvPr>
        </p:nvGraphicFramePr>
        <p:xfrm>
          <a:off x="8374504" y="741776"/>
          <a:ext cx="1872000" cy="58044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" name="Diagramm 11">
            <a:extLst>
              <a:ext uri="{FF2B5EF4-FFF2-40B4-BE49-F238E27FC236}">
                <a16:creationId xmlns:a16="http://schemas.microsoft.com/office/drawing/2014/main" id="{F85A016E-91E4-4FA9-AC6E-4FF7382064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8545522"/>
              </p:ext>
            </p:extLst>
          </p:nvPr>
        </p:nvGraphicFramePr>
        <p:xfrm>
          <a:off x="9967090" y="741770"/>
          <a:ext cx="1872000" cy="58044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3" name="Rectangle 14">
            <a:extLst>
              <a:ext uri="{FF2B5EF4-FFF2-40B4-BE49-F238E27FC236}">
                <a16:creationId xmlns:a16="http://schemas.microsoft.com/office/drawing/2014/main" id="{A33F9945-5401-451A-8279-56C9261A85D5}"/>
              </a:ext>
            </a:extLst>
          </p:cNvPr>
          <p:cNvSpPr/>
          <p:nvPr/>
        </p:nvSpPr>
        <p:spPr>
          <a:xfrm>
            <a:off x="6877057" y="549156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5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(R)AMR</a:t>
            </a:r>
          </a:p>
        </p:txBody>
      </p:sp>
      <p:sp>
        <p:nvSpPr>
          <p:cNvPr id="14" name="Rectangle 14">
            <a:extLst>
              <a:ext uri="{FF2B5EF4-FFF2-40B4-BE49-F238E27FC236}">
                <a16:creationId xmlns:a16="http://schemas.microsoft.com/office/drawing/2014/main" id="{E3A0728E-4D9A-468D-8867-1ACD748C4B75}"/>
              </a:ext>
            </a:extLst>
          </p:cNvPr>
          <p:cNvSpPr/>
          <p:nvPr/>
        </p:nvSpPr>
        <p:spPr>
          <a:xfrm>
            <a:off x="8357726" y="549156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3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REAC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3F18D2B-8E66-4096-8FD4-52096F8B0DF1}"/>
              </a:ext>
            </a:extLst>
          </p:cNvPr>
          <p:cNvSpPr/>
          <p:nvPr/>
        </p:nvSpPr>
        <p:spPr>
          <a:xfrm>
            <a:off x="9958701" y="549156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SHARE</a:t>
            </a:r>
          </a:p>
        </p:txBody>
      </p:sp>
      <p:sp>
        <p:nvSpPr>
          <p:cNvPr id="16" name="Rectangle 14">
            <a:extLst>
              <a:ext uri="{FF2B5EF4-FFF2-40B4-BE49-F238E27FC236}">
                <a16:creationId xmlns:a16="http://schemas.microsoft.com/office/drawing/2014/main" id="{8BB0004E-059B-45FE-8482-D23A8F7180E2}"/>
              </a:ext>
            </a:extLst>
          </p:cNvPr>
          <p:cNvSpPr/>
          <p:nvPr/>
        </p:nvSpPr>
        <p:spPr>
          <a:xfrm>
            <a:off x="3282490" y="568328"/>
            <a:ext cx="468000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DATUM</a:t>
            </a:r>
          </a:p>
        </p:txBody>
      </p:sp>
      <p:sp>
        <p:nvSpPr>
          <p:cNvPr id="17" name="Rectangle 14">
            <a:extLst>
              <a:ext uri="{FF2B5EF4-FFF2-40B4-BE49-F238E27FC236}">
                <a16:creationId xmlns:a16="http://schemas.microsoft.com/office/drawing/2014/main" id="{98C7DE58-DB1A-460C-951D-8DD4C84DC711}"/>
              </a:ext>
            </a:extLst>
          </p:cNvPr>
          <p:cNvSpPr/>
          <p:nvPr/>
        </p:nvSpPr>
        <p:spPr>
          <a:xfrm>
            <a:off x="4199805" y="568328"/>
            <a:ext cx="468000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KANAL</a:t>
            </a:r>
          </a:p>
        </p:txBody>
      </p:sp>
      <p:sp>
        <p:nvSpPr>
          <p:cNvPr id="18" name="Rectangle 14">
            <a:extLst>
              <a:ext uri="{FF2B5EF4-FFF2-40B4-BE49-F238E27FC236}">
                <a16:creationId xmlns:a16="http://schemas.microsoft.com/office/drawing/2014/main" id="{9AA47847-FFA9-4179-8144-65EB95CBFEAA}"/>
              </a:ext>
            </a:extLst>
          </p:cNvPr>
          <p:cNvSpPr/>
          <p:nvPr/>
        </p:nvSpPr>
        <p:spPr>
          <a:xfrm>
            <a:off x="5298806" y="568328"/>
            <a:ext cx="468000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EMISIJA</a:t>
            </a:r>
          </a:p>
        </p:txBody>
      </p:sp>
    </p:spTree>
    <p:extLst>
      <p:ext uri="{BB962C8B-B14F-4D97-AF65-F5344CB8AC3E}">
        <p14:creationId xmlns:p14="http://schemas.microsoft.com/office/powerpoint/2010/main" val="33309672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975761D5-DFA6-4DCC-966B-BD7E3A573E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8593090"/>
              </p:ext>
            </p:extLst>
          </p:nvPr>
        </p:nvGraphicFramePr>
        <p:xfrm>
          <a:off x="2918501" y="762970"/>
          <a:ext cx="8562059" cy="560074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90136">
                  <a:extLst>
                    <a:ext uri="{9D8B030D-6E8A-4147-A177-3AD203B41FA5}">
                      <a16:colId xmlns:a16="http://schemas.microsoft.com/office/drawing/2014/main" val="834878363"/>
                    </a:ext>
                  </a:extLst>
                </a:gridCol>
                <a:gridCol w="831973">
                  <a:extLst>
                    <a:ext uri="{9D8B030D-6E8A-4147-A177-3AD203B41FA5}">
                      <a16:colId xmlns:a16="http://schemas.microsoft.com/office/drawing/2014/main" val="3315234576"/>
                    </a:ext>
                  </a:extLst>
                </a:gridCol>
                <a:gridCol w="1185731">
                  <a:extLst>
                    <a:ext uri="{9D8B030D-6E8A-4147-A177-3AD203B41FA5}">
                      <a16:colId xmlns:a16="http://schemas.microsoft.com/office/drawing/2014/main" val="1066211400"/>
                    </a:ext>
                  </a:extLst>
                </a:gridCol>
                <a:gridCol w="1966939">
                  <a:extLst>
                    <a:ext uri="{9D8B030D-6E8A-4147-A177-3AD203B41FA5}">
                      <a16:colId xmlns:a16="http://schemas.microsoft.com/office/drawing/2014/main" val="2266377699"/>
                    </a:ext>
                  </a:extLst>
                </a:gridCol>
                <a:gridCol w="4287280">
                  <a:extLst>
                    <a:ext uri="{9D8B030D-6E8A-4147-A177-3AD203B41FA5}">
                      <a16:colId xmlns:a16="http://schemas.microsoft.com/office/drawing/2014/main" val="570271190"/>
                    </a:ext>
                  </a:extLst>
                </a:gridCol>
              </a:tblGrid>
              <a:tr h="37338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</a:t>
                      </a:r>
                      <a:endParaRPr lang="hr-HR" sz="900" b="0" i="0" u="none" strike="noStrike" noProof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6.8.202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 LP: </a:t>
                      </a:r>
                      <a:r>
                        <a:rPr lang="it-IT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od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ø</a:t>
                      </a:r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G</a:t>
                      </a:r>
                      <a:r>
                        <a:rPr lang="it-IT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imt</a:t>
                      </a:r>
                      <a:r>
                        <a:rPr lang="it-IT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- Dinamo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871224"/>
                  </a:ext>
                </a:extLst>
              </a:tr>
              <a:tr h="37338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2</a:t>
                      </a:r>
                      <a:endParaRPr lang="hr-HR" sz="900" b="0" i="0" u="none" strike="noStrike" noProof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.8.202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Premier League: Manchester United - Liverpool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06685366"/>
                  </a:ext>
                </a:extLst>
              </a:tr>
              <a:tr h="37338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3</a:t>
                      </a:r>
                      <a:endParaRPr lang="hr-HR" sz="900" b="0" i="0" u="none" strike="noStrike" noProof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.8.202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5:00 </a:t>
                      </a:r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. </a:t>
                      </a:r>
                      <a:r>
                        <a:rPr lang="hr-HR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ague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Manchester U. – Brighton</a:t>
                      </a:r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&amp; </a:t>
                      </a:r>
                      <a:r>
                        <a:rPr lang="hr-HR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ove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64802509"/>
                  </a:ext>
                </a:extLst>
              </a:tr>
              <a:tr h="37338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4</a:t>
                      </a:r>
                      <a:endParaRPr lang="hr-HR" sz="900" b="0" i="0" u="none" strike="noStrike" noProof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.8.202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7:30 Premier League: Newcastle - Manchester City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25486137"/>
                  </a:ext>
                </a:extLst>
              </a:tr>
              <a:tr h="37338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5</a:t>
                      </a:r>
                      <a:endParaRPr lang="hr-HR" sz="900" b="0" i="0" u="none" strike="noStrike" noProof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3.8.202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LP: Playoff: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rven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Zvezda - Maccabi Haif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6208142"/>
                  </a:ext>
                </a:extLst>
              </a:tr>
              <a:tr h="37338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6</a:t>
                      </a:r>
                      <a:endParaRPr lang="hr-HR" sz="900" b="0" i="0" u="none" strike="noStrike" noProof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5.8.202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Premier League: Liverpool - Crystal Palace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97617159"/>
                  </a:ext>
                </a:extLst>
              </a:tr>
              <a:tr h="37338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7</a:t>
                      </a:r>
                      <a:endParaRPr lang="hr-HR" sz="900" b="0" i="0" u="none" strike="noStrike" noProof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7.8.202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>
                        <a:tabLst>
                          <a:tab pos="1881188" algn="l"/>
                        </a:tabLst>
                      </a:pP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3:30 Premier League: Southampton - Manchester U.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73427743"/>
                  </a:ext>
                </a:extLst>
              </a:tr>
              <a:tr h="37338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8</a:t>
                      </a:r>
                      <a:endParaRPr lang="hr-HR" sz="900" b="0" i="0" u="none" strike="noStrike" noProof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.8.202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3:30 Premier League: Fulham - Liverpool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86765869"/>
                  </a:ext>
                </a:extLst>
              </a:tr>
              <a:tr h="37338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9</a:t>
                      </a:r>
                      <a:endParaRPr lang="hr-HR" sz="900" b="0" i="0" u="none" strike="noStrike" noProof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6.8.202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3:00 LP: Emisija Liga Prvaka -sažetak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6342283"/>
                  </a:ext>
                </a:extLst>
              </a:tr>
              <a:tr h="37338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0</a:t>
                      </a:r>
                      <a:endParaRPr lang="hr-HR" sz="900" b="0" i="0" u="none" strike="noStrike" noProof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.8.202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3:30 Premier League: Tottenham - Wolverhampton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71380775"/>
                  </a:ext>
                </a:extLst>
              </a:tr>
              <a:tr h="37338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1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4.8.202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7:30 Premier League: Chelsea - Tottenham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66093980"/>
                  </a:ext>
                </a:extLst>
              </a:tr>
              <a:tr h="37338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2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.8.202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5:00 Premier League: Leeds United - Chelse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82884498"/>
                  </a:ext>
                </a:extLst>
              </a:tr>
              <a:tr h="37338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3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8.8.202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7:30 Premier League: Nottingham Forest - Tottenham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8452615"/>
                  </a:ext>
                </a:extLst>
              </a:tr>
              <a:tr h="37338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4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3.8.202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8:30 Premier League: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rentford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- Manchester United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3860801"/>
                  </a:ext>
                </a:extLst>
              </a:tr>
              <a:tr h="37338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5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7.8.202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8:30 Premier League: Arsenal - Fulham</a:t>
                      </a: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9464736"/>
                  </a:ext>
                </a:extLst>
              </a:tr>
            </a:tbl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690F0BC9-FFC5-4432-870F-DB42D0546F33}"/>
              </a:ext>
            </a:extLst>
          </p:cNvPr>
          <p:cNvSpPr/>
          <p:nvPr/>
        </p:nvSpPr>
        <p:spPr>
          <a:xfrm>
            <a:off x="0" y="0"/>
            <a:ext cx="2138576" cy="6858000"/>
          </a:xfrm>
          <a:prstGeom prst="rect">
            <a:avLst/>
          </a:prstGeom>
          <a:solidFill>
            <a:srgbClr val="1E23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rtlCol="0" anchor="t"/>
          <a:lstStyle/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bg1"/>
                </a:solidFill>
                <a:latin typeface="Open Sans Extrabold"/>
              </a:rPr>
              <a:t>LISTA TOP 15 NAJGLEDANIJIH </a:t>
            </a:r>
            <a:r>
              <a:rPr lang="en-US" sz="1100" dirty="0">
                <a:solidFill>
                  <a:schemeClr val="accent4"/>
                </a:solidFill>
                <a:latin typeface="Open Sans Extrabold"/>
              </a:rPr>
              <a:t>EMISIJA</a:t>
            </a:r>
            <a:endParaRPr lang="hr-HR" sz="1100" dirty="0">
              <a:solidFill>
                <a:schemeClr val="accent4"/>
              </a:solidFill>
              <a:latin typeface="Open Sans Extrabold"/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NA 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CIJELOM DANU:</a:t>
            </a:r>
          </a:p>
          <a:p>
            <a:pPr lvl="0">
              <a:lnSpc>
                <a:spcPct val="90000"/>
              </a:lnSpc>
              <a:defRPr/>
            </a:pPr>
            <a:r>
              <a:rPr lang="en-US" sz="1100" dirty="0">
                <a:solidFill>
                  <a:schemeClr val="accent2"/>
                </a:solidFill>
                <a:latin typeface="Open Sans Extrabold"/>
              </a:rPr>
              <a:t>NEZEMALJSKI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 TELEVIZIJSKI KANALI</a:t>
            </a:r>
          </a:p>
          <a:p>
            <a:pPr lvl="0">
              <a:lnSpc>
                <a:spcPct val="90000"/>
              </a:lnSpc>
              <a:defRPr/>
            </a:pPr>
            <a:endParaRPr lang="hr-HR" sz="11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</a:rPr>
              <a:t>U analizu su uključeni svi nezemaljski kanali</a:t>
            </a:r>
            <a:endParaRPr lang="hr-HR" sz="1100" dirty="0">
              <a:solidFill>
                <a:schemeClr val="accent2"/>
              </a:solidFill>
            </a:endParaRPr>
          </a:p>
          <a:p>
            <a:pPr lvl="0">
              <a:lnSpc>
                <a:spcPct val="90000"/>
              </a:lnSpc>
              <a:defRPr/>
            </a:pPr>
            <a:endParaRPr kumimoji="0" lang="en-US" sz="1100" b="0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bg1"/>
                </a:solidFill>
              </a:rPr>
              <a:t>U listu najgledanijih emisija ne ulaze duplicirani programi i programi kraći od 15 min. Ako program ima više od jednog emitiranja</a:t>
            </a:r>
            <a:r>
              <a:rPr lang="en-US" sz="1100" dirty="0">
                <a:solidFill>
                  <a:schemeClr val="bg1"/>
                </a:solidFill>
              </a:rPr>
              <a:t>,</a:t>
            </a:r>
            <a:r>
              <a:rPr lang="hr-HR" sz="1100" dirty="0">
                <a:solidFill>
                  <a:schemeClr val="bg1"/>
                </a:solidFill>
              </a:rPr>
              <a:t> u izvještaju je naveden najgledaniji sadržaj. </a:t>
            </a:r>
            <a:endParaRPr kumimoji="0" lang="hr-HR" sz="1100" b="0" i="0" u="none" strike="noStrike" kern="120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ns Light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35CCB8A-9852-4618-9150-B37FD5519E1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412" y="6495781"/>
            <a:ext cx="1035530" cy="182027"/>
          </a:xfrm>
          <a:prstGeom prst="rect">
            <a:avLst/>
          </a:prstGeom>
        </p:spPr>
      </p:pic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FA4AA757-2245-4D7E-9967-CB23D886516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43939728"/>
              </p:ext>
            </p:extLst>
          </p:nvPr>
        </p:nvGraphicFramePr>
        <p:xfrm>
          <a:off x="7199530" y="762970"/>
          <a:ext cx="1872000" cy="56007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3781C6FF-03C0-4664-8D70-76A31B0B28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14660587"/>
              </p:ext>
            </p:extLst>
          </p:nvPr>
        </p:nvGraphicFramePr>
        <p:xfrm>
          <a:off x="8491950" y="787457"/>
          <a:ext cx="1872000" cy="55762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" name="Diagramm 11">
            <a:extLst>
              <a:ext uri="{FF2B5EF4-FFF2-40B4-BE49-F238E27FC236}">
                <a16:creationId xmlns:a16="http://schemas.microsoft.com/office/drawing/2014/main" id="{F85A016E-91E4-4FA9-AC6E-4FF7382064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24565752"/>
              </p:ext>
            </p:extLst>
          </p:nvPr>
        </p:nvGraphicFramePr>
        <p:xfrm>
          <a:off x="10059369" y="762969"/>
          <a:ext cx="1872000" cy="56007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3" name="Rectangle 14">
            <a:extLst>
              <a:ext uri="{FF2B5EF4-FFF2-40B4-BE49-F238E27FC236}">
                <a16:creationId xmlns:a16="http://schemas.microsoft.com/office/drawing/2014/main" id="{A33F9945-5401-451A-8279-56C9261A85D5}"/>
              </a:ext>
            </a:extLst>
          </p:cNvPr>
          <p:cNvSpPr/>
          <p:nvPr/>
        </p:nvSpPr>
        <p:spPr>
          <a:xfrm>
            <a:off x="7186950" y="554208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5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(R)AMR</a:t>
            </a:r>
          </a:p>
        </p:txBody>
      </p:sp>
      <p:sp>
        <p:nvSpPr>
          <p:cNvPr id="14" name="Rectangle 14">
            <a:extLst>
              <a:ext uri="{FF2B5EF4-FFF2-40B4-BE49-F238E27FC236}">
                <a16:creationId xmlns:a16="http://schemas.microsoft.com/office/drawing/2014/main" id="{E3A0728E-4D9A-468D-8867-1ACD748C4B75}"/>
              </a:ext>
            </a:extLst>
          </p:cNvPr>
          <p:cNvSpPr/>
          <p:nvPr/>
        </p:nvSpPr>
        <p:spPr>
          <a:xfrm>
            <a:off x="8491950" y="554208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3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REAC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3F18D2B-8E66-4096-8FD4-52096F8B0DF1}"/>
              </a:ext>
            </a:extLst>
          </p:cNvPr>
          <p:cNvSpPr/>
          <p:nvPr/>
        </p:nvSpPr>
        <p:spPr>
          <a:xfrm>
            <a:off x="10084536" y="554208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SHARE</a:t>
            </a:r>
          </a:p>
        </p:txBody>
      </p:sp>
      <p:sp>
        <p:nvSpPr>
          <p:cNvPr id="16" name="Rectangle 14">
            <a:extLst>
              <a:ext uri="{FF2B5EF4-FFF2-40B4-BE49-F238E27FC236}">
                <a16:creationId xmlns:a16="http://schemas.microsoft.com/office/drawing/2014/main" id="{8BB0004E-059B-45FE-8482-D23A8F7180E2}"/>
              </a:ext>
            </a:extLst>
          </p:cNvPr>
          <p:cNvSpPr/>
          <p:nvPr/>
        </p:nvSpPr>
        <p:spPr>
          <a:xfrm>
            <a:off x="3282490" y="573380"/>
            <a:ext cx="468000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DATUM</a:t>
            </a:r>
          </a:p>
        </p:txBody>
      </p:sp>
      <p:sp>
        <p:nvSpPr>
          <p:cNvPr id="17" name="Rectangle 14">
            <a:extLst>
              <a:ext uri="{FF2B5EF4-FFF2-40B4-BE49-F238E27FC236}">
                <a16:creationId xmlns:a16="http://schemas.microsoft.com/office/drawing/2014/main" id="{98C7DE58-DB1A-460C-951D-8DD4C84DC711}"/>
              </a:ext>
            </a:extLst>
          </p:cNvPr>
          <p:cNvSpPr/>
          <p:nvPr/>
        </p:nvSpPr>
        <p:spPr>
          <a:xfrm>
            <a:off x="4146793" y="573380"/>
            <a:ext cx="468000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KANAL</a:t>
            </a:r>
          </a:p>
        </p:txBody>
      </p:sp>
      <p:sp>
        <p:nvSpPr>
          <p:cNvPr id="18" name="Rectangle 14">
            <a:extLst>
              <a:ext uri="{FF2B5EF4-FFF2-40B4-BE49-F238E27FC236}">
                <a16:creationId xmlns:a16="http://schemas.microsoft.com/office/drawing/2014/main" id="{9AA47847-FFA9-4179-8144-65EB95CBFEAA}"/>
              </a:ext>
            </a:extLst>
          </p:cNvPr>
          <p:cNvSpPr/>
          <p:nvPr/>
        </p:nvSpPr>
        <p:spPr>
          <a:xfrm>
            <a:off x="5645182" y="573380"/>
            <a:ext cx="468000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EMISIJA</a:t>
            </a:r>
          </a:p>
        </p:txBody>
      </p:sp>
    </p:spTree>
    <p:extLst>
      <p:ext uri="{BB962C8B-B14F-4D97-AF65-F5344CB8AC3E}">
        <p14:creationId xmlns:p14="http://schemas.microsoft.com/office/powerpoint/2010/main" val="1795181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975761D5-DFA6-4DCC-966B-BD7E3A573E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5107780"/>
              </p:ext>
            </p:extLst>
          </p:nvPr>
        </p:nvGraphicFramePr>
        <p:xfrm>
          <a:off x="2851416" y="1117953"/>
          <a:ext cx="8562057" cy="529029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82057">
                  <a:extLst>
                    <a:ext uri="{9D8B030D-6E8A-4147-A177-3AD203B41FA5}">
                      <a16:colId xmlns:a16="http://schemas.microsoft.com/office/drawing/2014/main" val="834878363"/>
                    </a:ext>
                  </a:extLst>
                </a:gridCol>
                <a:gridCol w="8280000">
                  <a:extLst>
                    <a:ext uri="{9D8B030D-6E8A-4147-A177-3AD203B41FA5}">
                      <a16:colId xmlns:a16="http://schemas.microsoft.com/office/drawing/2014/main" val="3315234576"/>
                    </a:ext>
                  </a:extLst>
                </a:gridCol>
              </a:tblGrid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444500"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871224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2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44500" indent="0"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TL TELEVIZIJ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06685366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3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44500" indent="0"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64802509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4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44500" indent="0"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25486137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5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44500" indent="0"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OMA TV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6208142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6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44500" indent="0"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TL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97617159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7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44500" indent="0"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73427743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8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44500" indent="0"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ICKELODEON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86765869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9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44500" indent="0"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TL KOCKIC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6342283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0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44500" indent="0"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71380775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1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44500" indent="0"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66093980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2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44500" indent="0"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ICKBOX TV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82884498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3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44500" indent="0"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8452615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4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44500" indent="0"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4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3860801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5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44500" indent="0"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 ACTION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9464736"/>
                  </a:ext>
                </a:extLst>
              </a:tr>
            </a:tbl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690F0BC9-FFC5-4432-870F-DB42D0546F33}"/>
              </a:ext>
            </a:extLst>
          </p:cNvPr>
          <p:cNvSpPr/>
          <p:nvPr/>
        </p:nvSpPr>
        <p:spPr>
          <a:xfrm>
            <a:off x="0" y="0"/>
            <a:ext cx="2138576" cy="6858000"/>
          </a:xfrm>
          <a:prstGeom prst="rect">
            <a:avLst/>
          </a:prstGeom>
          <a:solidFill>
            <a:srgbClr val="1E23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rtlCol="0" anchor="t"/>
          <a:lstStyle/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bg1"/>
                </a:solidFill>
                <a:latin typeface="Open Sans Extrabold"/>
              </a:rPr>
              <a:t>LISTA TOP 15 NAJGLEDANIJIH </a:t>
            </a: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TELEVIZIJSKIH KANALA </a:t>
            </a: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U PERIODU 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19-23H</a:t>
            </a:r>
            <a:r>
              <a:rPr lang="hr-HR" sz="1100" dirty="0">
                <a:solidFill>
                  <a:srgbClr val="5EC0ED"/>
                </a:solidFill>
                <a:latin typeface="Open Sans Extrabold"/>
              </a:rPr>
              <a:t>:</a:t>
            </a: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SVI TELEVIZIJSKI KANALI</a:t>
            </a:r>
          </a:p>
          <a:p>
            <a:pPr lvl="0">
              <a:lnSpc>
                <a:spcPct val="90000"/>
              </a:lnSpc>
              <a:defRPr/>
            </a:pPr>
            <a:endParaRPr lang="hr-HR" sz="11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</a:rPr>
              <a:t>U analizu su uključeni svi zemaljski i nezemaljski kanali</a:t>
            </a:r>
            <a:endParaRPr kumimoji="0" lang="hr-HR" sz="1100" b="0" i="0" u="none" strike="noStrike" kern="1200" cap="none" spc="0" normalizeH="0" baseline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Open Sans Light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35CCB8A-9852-4618-9150-B37FD5519E1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412" y="6495781"/>
            <a:ext cx="1035530" cy="182027"/>
          </a:xfrm>
          <a:prstGeom prst="rect">
            <a:avLst/>
          </a:prstGeom>
        </p:spPr>
      </p:pic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FA4AA757-2245-4D7E-9967-CB23D886516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04638815"/>
              </p:ext>
            </p:extLst>
          </p:nvPr>
        </p:nvGraphicFramePr>
        <p:xfrm>
          <a:off x="5536101" y="1117949"/>
          <a:ext cx="1944000" cy="52902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3781C6FF-03C0-4664-8D70-76A31B0B28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53204872"/>
              </p:ext>
            </p:extLst>
          </p:nvPr>
        </p:nvGraphicFramePr>
        <p:xfrm>
          <a:off x="7568495" y="1117950"/>
          <a:ext cx="1944000" cy="52902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" name="Diagramm 11">
            <a:extLst>
              <a:ext uri="{FF2B5EF4-FFF2-40B4-BE49-F238E27FC236}">
                <a16:creationId xmlns:a16="http://schemas.microsoft.com/office/drawing/2014/main" id="{F85A016E-91E4-4FA9-AC6E-4FF7382064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28313257"/>
              </p:ext>
            </p:extLst>
          </p:nvPr>
        </p:nvGraphicFramePr>
        <p:xfrm>
          <a:off x="9600889" y="1117949"/>
          <a:ext cx="1944000" cy="52902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7" name="Rectangle 14">
            <a:extLst>
              <a:ext uri="{FF2B5EF4-FFF2-40B4-BE49-F238E27FC236}">
                <a16:creationId xmlns:a16="http://schemas.microsoft.com/office/drawing/2014/main" id="{ADC961B4-B59A-4836-812F-EF8E26AC2889}"/>
              </a:ext>
            </a:extLst>
          </p:cNvPr>
          <p:cNvSpPr/>
          <p:nvPr/>
        </p:nvSpPr>
        <p:spPr>
          <a:xfrm>
            <a:off x="3107748" y="886251"/>
            <a:ext cx="1583732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KOLOVOZ</a:t>
            </a:r>
            <a:r>
              <a:rPr lang="hr-HR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2022.</a:t>
            </a:r>
            <a:endParaRPr lang="de-DE" sz="900" dirty="0">
              <a:solidFill>
                <a:srgbClr val="75829A"/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" name="Rectangle 14">
            <a:extLst>
              <a:ext uri="{FF2B5EF4-FFF2-40B4-BE49-F238E27FC236}">
                <a16:creationId xmlns:a16="http://schemas.microsoft.com/office/drawing/2014/main" id="{91B7353B-9BA3-408D-A9D5-9D970B69D8E8}"/>
              </a:ext>
            </a:extLst>
          </p:cNvPr>
          <p:cNvSpPr/>
          <p:nvPr/>
        </p:nvSpPr>
        <p:spPr>
          <a:xfrm>
            <a:off x="5552879" y="886251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(R)SHARE</a:t>
            </a:r>
          </a:p>
        </p:txBody>
      </p:sp>
      <p:sp>
        <p:nvSpPr>
          <p:cNvPr id="19" name="Rectangle 14">
            <a:extLst>
              <a:ext uri="{FF2B5EF4-FFF2-40B4-BE49-F238E27FC236}">
                <a16:creationId xmlns:a16="http://schemas.microsoft.com/office/drawing/2014/main" id="{97D00EDC-9529-40CD-B57A-333BDB211856}"/>
              </a:ext>
            </a:extLst>
          </p:cNvPr>
          <p:cNvSpPr/>
          <p:nvPr/>
        </p:nvSpPr>
        <p:spPr>
          <a:xfrm>
            <a:off x="7585273" y="886251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5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AMR</a:t>
            </a:r>
          </a:p>
        </p:txBody>
      </p:sp>
      <p:sp>
        <p:nvSpPr>
          <p:cNvPr id="20" name="Rectangle 14">
            <a:extLst>
              <a:ext uri="{FF2B5EF4-FFF2-40B4-BE49-F238E27FC236}">
                <a16:creationId xmlns:a16="http://schemas.microsoft.com/office/drawing/2014/main" id="{9F9B83CD-360B-4E9E-ADBA-8F461E4C5C59}"/>
              </a:ext>
            </a:extLst>
          </p:cNvPr>
          <p:cNvSpPr/>
          <p:nvPr/>
        </p:nvSpPr>
        <p:spPr>
          <a:xfrm>
            <a:off x="9617667" y="886251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hr-HR" sz="900" dirty="0">
                <a:solidFill>
                  <a:schemeClr val="accent3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COVERAGE</a:t>
            </a:r>
          </a:p>
        </p:txBody>
      </p:sp>
    </p:spTree>
    <p:extLst>
      <p:ext uri="{BB962C8B-B14F-4D97-AF65-F5344CB8AC3E}">
        <p14:creationId xmlns:p14="http://schemas.microsoft.com/office/powerpoint/2010/main" val="37648234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975761D5-DFA6-4DCC-966B-BD7E3A573E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8262800"/>
              </p:ext>
            </p:extLst>
          </p:nvPr>
        </p:nvGraphicFramePr>
        <p:xfrm>
          <a:off x="2851416" y="1114890"/>
          <a:ext cx="8562057" cy="5279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82057">
                  <a:extLst>
                    <a:ext uri="{9D8B030D-6E8A-4147-A177-3AD203B41FA5}">
                      <a16:colId xmlns:a16="http://schemas.microsoft.com/office/drawing/2014/main" val="834878363"/>
                    </a:ext>
                  </a:extLst>
                </a:gridCol>
                <a:gridCol w="8280000">
                  <a:extLst>
                    <a:ext uri="{9D8B030D-6E8A-4147-A177-3AD203B41FA5}">
                      <a16:colId xmlns:a16="http://schemas.microsoft.com/office/drawing/2014/main" val="3315234576"/>
                    </a:ext>
                  </a:extLst>
                </a:gridCol>
              </a:tblGrid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444500" algn="l" fontAlgn="b"/>
                      <a:r>
                        <a:rPr lang="en-US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RENA SPORT 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871224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2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444500" algn="l" fontAlgn="b"/>
                      <a:r>
                        <a:rPr lang="en-US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ICKELODEON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06685366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3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444500" algn="l" fontAlgn="b"/>
                      <a:r>
                        <a:rPr lang="en-US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RENA SPORT 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64802509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4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44500" indent="0"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ICKBOX TV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25486137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5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44500" indent="0"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6208142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6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44500" indent="0"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 ACTION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97617159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7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44500" indent="0"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ICK JR (HR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73427743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8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44500" indent="0"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OX MOVIES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86765869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9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44500" indent="0"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OX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6342283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0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44500" indent="0"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OX CRIME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71380775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1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44500" indent="0"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BO 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66093980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2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44500" indent="0"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OX LIFE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82884498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3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44500" indent="0"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BO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8452615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4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44500" indent="0"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BO 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3860801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5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44500" indent="0"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ATIONAL GEOGRAPHIC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9464736"/>
                  </a:ext>
                </a:extLst>
              </a:tr>
            </a:tbl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690F0BC9-FFC5-4432-870F-DB42D0546F33}"/>
              </a:ext>
            </a:extLst>
          </p:cNvPr>
          <p:cNvSpPr/>
          <p:nvPr/>
        </p:nvSpPr>
        <p:spPr>
          <a:xfrm>
            <a:off x="0" y="0"/>
            <a:ext cx="2138576" cy="6858000"/>
          </a:xfrm>
          <a:prstGeom prst="rect">
            <a:avLst/>
          </a:prstGeom>
          <a:solidFill>
            <a:srgbClr val="1E23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rtlCol="0" anchor="t"/>
          <a:lstStyle/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LISTA TOP 15 </a:t>
            </a:r>
            <a:r>
              <a:rPr lang="hr-HR" sz="1100" dirty="0">
                <a:solidFill>
                  <a:schemeClr val="bg1"/>
                </a:solidFill>
                <a:latin typeface="Open Sans Extrabold"/>
              </a:rPr>
              <a:t>NAJGLEDANIJIH TELEVIZIJSKIH </a:t>
            </a: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KANALA </a:t>
            </a: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U </a:t>
            </a:r>
            <a:r>
              <a:rPr lang="hr-HR" sz="1100" dirty="0">
                <a:solidFill>
                  <a:schemeClr val="bg1"/>
                </a:solidFill>
                <a:latin typeface="Open Sans Extrabold"/>
              </a:rPr>
              <a:t>PERIODU 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19-23H</a:t>
            </a: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:</a:t>
            </a:r>
          </a:p>
          <a:p>
            <a:pPr lvl="0">
              <a:lnSpc>
                <a:spcPct val="90000"/>
              </a:lnSpc>
              <a:defRPr/>
            </a:pPr>
            <a:r>
              <a:rPr lang="en-US" sz="1100" dirty="0">
                <a:solidFill>
                  <a:schemeClr val="accent2"/>
                </a:solidFill>
                <a:latin typeface="Open Sans Extrabold"/>
              </a:rPr>
              <a:t>NEZEMALJSKI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 TELEVIZIJSKI KANALI</a:t>
            </a:r>
          </a:p>
          <a:p>
            <a:pPr lvl="0">
              <a:lnSpc>
                <a:spcPct val="90000"/>
              </a:lnSpc>
              <a:defRPr/>
            </a:pPr>
            <a:endParaRPr lang="hr-HR" sz="11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</a:rPr>
              <a:t>U analizu su uključeni svi nezemaljski kanali</a:t>
            </a:r>
            <a:r>
              <a:rPr lang="en-US" sz="1100" dirty="0">
                <a:solidFill>
                  <a:srgbClr val="FFFFFF"/>
                </a:solidFill>
              </a:rPr>
              <a:t>.</a:t>
            </a:r>
            <a:endParaRPr kumimoji="0" lang="hr-HR" sz="1100" b="0" i="0" u="none" strike="noStrike" kern="1200" cap="none" spc="0" normalizeH="0" baseline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Open Sans Light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35CCB8A-9852-4618-9150-B37FD5519E1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412" y="6495781"/>
            <a:ext cx="1035530" cy="182027"/>
          </a:xfrm>
          <a:prstGeom prst="rect">
            <a:avLst/>
          </a:prstGeom>
        </p:spPr>
      </p:pic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FA4AA757-2245-4D7E-9967-CB23D886516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78627359"/>
              </p:ext>
            </p:extLst>
          </p:nvPr>
        </p:nvGraphicFramePr>
        <p:xfrm>
          <a:off x="5536101" y="1100995"/>
          <a:ext cx="1944000" cy="52902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3781C6FF-03C0-4664-8D70-76A31B0B28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48728861"/>
              </p:ext>
            </p:extLst>
          </p:nvPr>
        </p:nvGraphicFramePr>
        <p:xfrm>
          <a:off x="7568495" y="1106501"/>
          <a:ext cx="1944000" cy="52902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" name="Diagramm 11">
            <a:extLst>
              <a:ext uri="{FF2B5EF4-FFF2-40B4-BE49-F238E27FC236}">
                <a16:creationId xmlns:a16="http://schemas.microsoft.com/office/drawing/2014/main" id="{F85A016E-91E4-4FA9-AC6E-4FF7382064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76046935"/>
              </p:ext>
            </p:extLst>
          </p:nvPr>
        </p:nvGraphicFramePr>
        <p:xfrm>
          <a:off x="9600889" y="1106501"/>
          <a:ext cx="1944000" cy="52902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3" name="Rectangle 14">
            <a:extLst>
              <a:ext uri="{FF2B5EF4-FFF2-40B4-BE49-F238E27FC236}">
                <a16:creationId xmlns:a16="http://schemas.microsoft.com/office/drawing/2014/main" id="{A33F9945-5401-451A-8279-56C9261A85D5}"/>
              </a:ext>
            </a:extLst>
          </p:cNvPr>
          <p:cNvSpPr/>
          <p:nvPr/>
        </p:nvSpPr>
        <p:spPr>
          <a:xfrm>
            <a:off x="5536101" y="872195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(R)SHARE</a:t>
            </a:r>
          </a:p>
        </p:txBody>
      </p:sp>
      <p:sp>
        <p:nvSpPr>
          <p:cNvPr id="14" name="Rectangle 14">
            <a:extLst>
              <a:ext uri="{FF2B5EF4-FFF2-40B4-BE49-F238E27FC236}">
                <a16:creationId xmlns:a16="http://schemas.microsoft.com/office/drawing/2014/main" id="{E3A0728E-4D9A-468D-8867-1ACD748C4B75}"/>
              </a:ext>
            </a:extLst>
          </p:cNvPr>
          <p:cNvSpPr/>
          <p:nvPr/>
        </p:nvSpPr>
        <p:spPr>
          <a:xfrm>
            <a:off x="7587413" y="872195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5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AMR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3F18D2B-8E66-4096-8FD4-52096F8B0DF1}"/>
              </a:ext>
            </a:extLst>
          </p:cNvPr>
          <p:cNvSpPr/>
          <p:nvPr/>
        </p:nvSpPr>
        <p:spPr>
          <a:xfrm>
            <a:off x="9600889" y="872195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hr-HR" sz="900" dirty="0">
                <a:solidFill>
                  <a:schemeClr val="accent3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COVERAGE</a:t>
            </a:r>
            <a:endParaRPr lang="de-DE" sz="900" dirty="0">
              <a:solidFill>
                <a:schemeClr val="accent3"/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" name="Rectangle 14">
            <a:extLst>
              <a:ext uri="{FF2B5EF4-FFF2-40B4-BE49-F238E27FC236}">
                <a16:creationId xmlns:a16="http://schemas.microsoft.com/office/drawing/2014/main" id="{0F99F297-BDA2-43C9-9B22-D6A587715DE1}"/>
              </a:ext>
            </a:extLst>
          </p:cNvPr>
          <p:cNvSpPr/>
          <p:nvPr/>
        </p:nvSpPr>
        <p:spPr>
          <a:xfrm>
            <a:off x="3109888" y="891367"/>
            <a:ext cx="1569665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KOLOVOZ</a:t>
            </a:r>
            <a:r>
              <a:rPr lang="hr-HR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2022.</a:t>
            </a:r>
            <a:endParaRPr lang="de-DE" sz="900" dirty="0">
              <a:solidFill>
                <a:srgbClr val="75829A"/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13796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975761D5-DFA6-4DCC-966B-BD7E3A573E0D}"/>
              </a:ext>
            </a:extLst>
          </p:cNvPr>
          <p:cNvGraphicFramePr>
            <a:graphicFrameLocks noGrp="1"/>
          </p:cNvGraphicFramePr>
          <p:nvPr/>
        </p:nvGraphicFramePr>
        <p:xfrm>
          <a:off x="2627652" y="806138"/>
          <a:ext cx="9287210" cy="55865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4709">
                  <a:extLst>
                    <a:ext uri="{9D8B030D-6E8A-4147-A177-3AD203B41FA5}">
                      <a16:colId xmlns:a16="http://schemas.microsoft.com/office/drawing/2014/main" val="834878363"/>
                    </a:ext>
                  </a:extLst>
                </a:gridCol>
                <a:gridCol w="890368">
                  <a:extLst>
                    <a:ext uri="{9D8B030D-6E8A-4147-A177-3AD203B41FA5}">
                      <a16:colId xmlns:a16="http://schemas.microsoft.com/office/drawing/2014/main" val="3315234576"/>
                    </a:ext>
                  </a:extLst>
                </a:gridCol>
                <a:gridCol w="1115824">
                  <a:extLst>
                    <a:ext uri="{9D8B030D-6E8A-4147-A177-3AD203B41FA5}">
                      <a16:colId xmlns:a16="http://schemas.microsoft.com/office/drawing/2014/main" val="1066211400"/>
                    </a:ext>
                  </a:extLst>
                </a:gridCol>
                <a:gridCol w="1921975">
                  <a:extLst>
                    <a:ext uri="{9D8B030D-6E8A-4147-A177-3AD203B41FA5}">
                      <a16:colId xmlns:a16="http://schemas.microsoft.com/office/drawing/2014/main" val="2266377699"/>
                    </a:ext>
                  </a:extLst>
                </a:gridCol>
                <a:gridCol w="5044334">
                  <a:extLst>
                    <a:ext uri="{9D8B030D-6E8A-4147-A177-3AD203B41FA5}">
                      <a16:colId xmlns:a16="http://schemas.microsoft.com/office/drawing/2014/main" val="1868117407"/>
                    </a:ext>
                  </a:extLst>
                </a:gridCol>
              </a:tblGrid>
              <a:tr h="3114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5.8.202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56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Konferencijsk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ig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-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oigravanje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Hajduk - Villarreal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871224"/>
                  </a:ext>
                </a:extLst>
              </a:tr>
              <a:tr h="3663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2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4.8.202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</a:t>
                      </a:r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</a:t>
                      </a:r>
                      <a:r>
                        <a:rPr lang="hr-HR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2 LP</a:t>
                      </a:r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inamo –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odø</a:t>
                      </a:r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Glimt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06685366"/>
                  </a:ext>
                </a:extLst>
              </a:tr>
              <a:tr h="3663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3</a:t>
                      </a:r>
                      <a:endParaRPr lang="hr-HR" sz="900" b="0" i="0" u="none" strike="noStrike" noProof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8.8.202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40 Konferencijska liga: doigravanje: Villareal - Hajduk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64802509"/>
                  </a:ext>
                </a:extLst>
              </a:tr>
              <a:tr h="3663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4</a:t>
                      </a:r>
                      <a:endParaRPr lang="hr-HR" sz="900" b="0" i="0" u="none" strike="noStrike" noProof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6.8.202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LP:</a:t>
                      </a:r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odø</a:t>
                      </a:r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Glimt</a:t>
                      </a:r>
                      <a:r>
                        <a:rPr lang="it-IT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- Dinamo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25486137"/>
                  </a:ext>
                </a:extLst>
              </a:tr>
              <a:tr h="38655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5</a:t>
                      </a:r>
                      <a:endParaRPr lang="hr-HR" sz="900" b="0" i="0" u="none" strike="noStrike" noProof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0.8.202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20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Kumovi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6208142"/>
                  </a:ext>
                </a:extLst>
              </a:tr>
              <a:tr h="3663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6</a:t>
                      </a:r>
                      <a:endParaRPr lang="hr-HR" sz="900" b="0" i="0" u="none" strike="noStrike" noProof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.8.202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9:00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nevnik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97617159"/>
                  </a:ext>
                </a:extLst>
              </a:tr>
              <a:tr h="3663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7</a:t>
                      </a:r>
                      <a:endParaRPr lang="hr-HR" sz="900" b="0" i="0" u="none" strike="noStrike" noProof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8.8.202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9:15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nevnik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e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TV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73427743"/>
                  </a:ext>
                </a:extLst>
              </a:tr>
              <a:tr h="382170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8</a:t>
                      </a:r>
                      <a:endParaRPr lang="hr-HR" sz="900" b="0" i="0" u="none" strike="noStrike" noProof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.8.202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54 Helsinki: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uropski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gometni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uperkup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86765869"/>
                  </a:ext>
                </a:extLst>
              </a:tr>
              <a:tr h="3663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9</a:t>
                      </a:r>
                      <a:endParaRPr lang="hr-HR" sz="900" b="0" i="0" u="none" strike="noStrike" noProof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9.8.202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TL TELEVIZIJA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9:00 RTL Danas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6342283"/>
                  </a:ext>
                </a:extLst>
              </a:tr>
              <a:tr h="3663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0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9.8.202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TL TELEVIZIJA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14 Večera za 5 na selu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71380775"/>
                  </a:ext>
                </a:extLst>
              </a:tr>
              <a:tr h="3663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1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0.8.202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TL TELEVIZIJA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:15 RTL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irekt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66093980"/>
                  </a:ext>
                </a:extLst>
              </a:tr>
              <a:tr h="3663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2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5.8.2022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</a:t>
                      </a:r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5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tarci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82884498"/>
                  </a:ext>
                </a:extLst>
              </a:tr>
              <a:tr h="3663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3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.8.2022.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Premier League: Manchester United - Liverpool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8452615"/>
                  </a:ext>
                </a:extLst>
              </a:tr>
              <a:tr h="3663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4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0.8.2022.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1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58 Kornatska nesreća – Potraga za istinom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3860801"/>
                  </a:ext>
                </a:extLst>
              </a:tr>
              <a:tr h="392602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5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7.8.2022.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15 Računovođa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9464736"/>
                  </a:ext>
                </a:extLst>
              </a:tr>
            </a:tbl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690F0BC9-FFC5-4432-870F-DB42D0546F33}"/>
              </a:ext>
            </a:extLst>
          </p:cNvPr>
          <p:cNvSpPr/>
          <p:nvPr/>
        </p:nvSpPr>
        <p:spPr>
          <a:xfrm>
            <a:off x="0" y="0"/>
            <a:ext cx="2138576" cy="6858000"/>
          </a:xfrm>
          <a:prstGeom prst="rect">
            <a:avLst/>
          </a:prstGeom>
          <a:solidFill>
            <a:srgbClr val="1E23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rtlCol="0" anchor="t"/>
          <a:lstStyle/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bg1"/>
                </a:solidFill>
                <a:latin typeface="Open Sans Extrabold"/>
              </a:rPr>
              <a:t>LISTA TOP 15 NAJGLEDANIJIH </a:t>
            </a:r>
            <a:r>
              <a:rPr lang="en-US" sz="1100" dirty="0">
                <a:solidFill>
                  <a:schemeClr val="accent4"/>
                </a:solidFill>
                <a:latin typeface="Open Sans Extrabold"/>
              </a:rPr>
              <a:t>EMISIJA</a:t>
            </a:r>
            <a:endParaRPr lang="hr-HR" sz="1100" dirty="0">
              <a:solidFill>
                <a:schemeClr val="accent4"/>
              </a:solidFill>
              <a:latin typeface="Open Sans Extrabold"/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NA 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19-23:</a:t>
            </a: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SVI TELEVIZIJSKI KANALI</a:t>
            </a:r>
          </a:p>
          <a:p>
            <a:pPr lvl="0">
              <a:lnSpc>
                <a:spcPct val="90000"/>
              </a:lnSpc>
              <a:defRPr/>
            </a:pPr>
            <a:endParaRPr lang="hr-HR" sz="11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</a:rPr>
              <a:t>U analizu su uključeni svi zemaljski i nezemaljski kanali</a:t>
            </a:r>
            <a:endParaRPr lang="hr-HR" sz="1100" dirty="0">
              <a:solidFill>
                <a:schemeClr val="accent2"/>
              </a:solidFill>
            </a:endParaRPr>
          </a:p>
          <a:p>
            <a:pPr lvl="0">
              <a:lnSpc>
                <a:spcPct val="90000"/>
              </a:lnSpc>
              <a:defRPr/>
            </a:pPr>
            <a:endParaRPr kumimoji="0" lang="en-US" sz="1100" b="0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bg1"/>
                </a:solidFill>
              </a:rPr>
              <a:t>U listu najgledanijih emisija ne ulaze duplicirani programi i programi kraći od 15 min. Ako program ima više od jednog emitiranja</a:t>
            </a:r>
            <a:r>
              <a:rPr lang="en-US" sz="1100" dirty="0">
                <a:solidFill>
                  <a:schemeClr val="bg1"/>
                </a:solidFill>
              </a:rPr>
              <a:t>,</a:t>
            </a:r>
            <a:r>
              <a:rPr lang="hr-HR" sz="1100" dirty="0">
                <a:solidFill>
                  <a:schemeClr val="bg1"/>
                </a:solidFill>
              </a:rPr>
              <a:t> u izvještaju je naveden najgledaniji sadržaj. </a:t>
            </a:r>
            <a:endParaRPr kumimoji="0" lang="hr-HR" sz="1100" b="0" i="0" u="none" strike="noStrike" kern="120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ns Light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35CCB8A-9852-4618-9150-B37FD5519E1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412" y="6495781"/>
            <a:ext cx="1035530" cy="182027"/>
          </a:xfrm>
          <a:prstGeom prst="rect">
            <a:avLst/>
          </a:prstGeom>
        </p:spPr>
      </p:pic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FA4AA757-2245-4D7E-9967-CB23D886516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01079452"/>
              </p:ext>
            </p:extLst>
          </p:nvPr>
        </p:nvGraphicFramePr>
        <p:xfrm>
          <a:off x="6887475" y="792009"/>
          <a:ext cx="1872000" cy="56087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3781C6FF-03C0-4664-8D70-76A31B0B2815}"/>
              </a:ext>
            </a:extLst>
          </p:cNvPr>
          <p:cNvGraphicFramePr/>
          <p:nvPr/>
        </p:nvGraphicFramePr>
        <p:xfrm>
          <a:off x="8401895" y="792008"/>
          <a:ext cx="1872000" cy="56254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" name="Diagramm 11">
            <a:extLst>
              <a:ext uri="{FF2B5EF4-FFF2-40B4-BE49-F238E27FC236}">
                <a16:creationId xmlns:a16="http://schemas.microsoft.com/office/drawing/2014/main" id="{F85A016E-91E4-4FA9-AC6E-4FF73820641B}"/>
              </a:ext>
            </a:extLst>
          </p:cNvPr>
          <p:cNvGraphicFramePr/>
          <p:nvPr/>
        </p:nvGraphicFramePr>
        <p:xfrm>
          <a:off x="10158407" y="792008"/>
          <a:ext cx="1872000" cy="56087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9" name="Rectangle 14">
            <a:extLst>
              <a:ext uri="{FF2B5EF4-FFF2-40B4-BE49-F238E27FC236}">
                <a16:creationId xmlns:a16="http://schemas.microsoft.com/office/drawing/2014/main" id="{24936684-17F7-4C62-80D8-0A88E9D7E7DA}"/>
              </a:ext>
            </a:extLst>
          </p:cNvPr>
          <p:cNvSpPr/>
          <p:nvPr/>
        </p:nvSpPr>
        <p:spPr>
          <a:xfrm>
            <a:off x="6887475" y="573092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5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(R)AMR</a:t>
            </a:r>
          </a:p>
        </p:txBody>
      </p:sp>
      <p:sp>
        <p:nvSpPr>
          <p:cNvPr id="20" name="Rectangle 14">
            <a:extLst>
              <a:ext uri="{FF2B5EF4-FFF2-40B4-BE49-F238E27FC236}">
                <a16:creationId xmlns:a16="http://schemas.microsoft.com/office/drawing/2014/main" id="{1D9A87FB-1AD6-476C-8D67-7FED47BA9E62}"/>
              </a:ext>
            </a:extLst>
          </p:cNvPr>
          <p:cNvSpPr/>
          <p:nvPr/>
        </p:nvSpPr>
        <p:spPr>
          <a:xfrm>
            <a:off x="8401895" y="573092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3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REACH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39C8A7D-3955-495D-92F7-585800716475}"/>
              </a:ext>
            </a:extLst>
          </p:cNvPr>
          <p:cNvSpPr/>
          <p:nvPr/>
        </p:nvSpPr>
        <p:spPr>
          <a:xfrm>
            <a:off x="10158407" y="573092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SHARE</a:t>
            </a:r>
          </a:p>
        </p:txBody>
      </p:sp>
      <p:sp>
        <p:nvSpPr>
          <p:cNvPr id="22" name="Rectangle 14">
            <a:extLst>
              <a:ext uri="{FF2B5EF4-FFF2-40B4-BE49-F238E27FC236}">
                <a16:creationId xmlns:a16="http://schemas.microsoft.com/office/drawing/2014/main" id="{904421AD-8B5D-4D9F-B057-84ABB1548B71}"/>
              </a:ext>
            </a:extLst>
          </p:cNvPr>
          <p:cNvSpPr/>
          <p:nvPr/>
        </p:nvSpPr>
        <p:spPr>
          <a:xfrm>
            <a:off x="3051722" y="592264"/>
            <a:ext cx="468000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DATUM</a:t>
            </a:r>
          </a:p>
        </p:txBody>
      </p:sp>
      <p:sp>
        <p:nvSpPr>
          <p:cNvPr id="23" name="Rectangle 14">
            <a:extLst>
              <a:ext uri="{FF2B5EF4-FFF2-40B4-BE49-F238E27FC236}">
                <a16:creationId xmlns:a16="http://schemas.microsoft.com/office/drawing/2014/main" id="{C8FFAE03-7BE3-4D9E-AEE3-113D2750FA5D}"/>
              </a:ext>
            </a:extLst>
          </p:cNvPr>
          <p:cNvSpPr/>
          <p:nvPr/>
        </p:nvSpPr>
        <p:spPr>
          <a:xfrm>
            <a:off x="4197860" y="592264"/>
            <a:ext cx="468000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KANAL</a:t>
            </a:r>
          </a:p>
        </p:txBody>
      </p:sp>
      <p:sp>
        <p:nvSpPr>
          <p:cNvPr id="24" name="Rectangle 14">
            <a:extLst>
              <a:ext uri="{FF2B5EF4-FFF2-40B4-BE49-F238E27FC236}">
                <a16:creationId xmlns:a16="http://schemas.microsoft.com/office/drawing/2014/main" id="{782A3847-38B9-4890-A70A-FF408520DA12}"/>
              </a:ext>
            </a:extLst>
          </p:cNvPr>
          <p:cNvSpPr/>
          <p:nvPr/>
        </p:nvSpPr>
        <p:spPr>
          <a:xfrm>
            <a:off x="5511992" y="592264"/>
            <a:ext cx="468000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EMISIJA</a:t>
            </a:r>
          </a:p>
        </p:txBody>
      </p:sp>
    </p:spTree>
    <p:extLst>
      <p:ext uri="{BB962C8B-B14F-4D97-AF65-F5344CB8AC3E}">
        <p14:creationId xmlns:p14="http://schemas.microsoft.com/office/powerpoint/2010/main" val="23873343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975761D5-DFA6-4DCC-966B-BD7E3A573E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7783550"/>
              </p:ext>
            </p:extLst>
          </p:nvPr>
        </p:nvGraphicFramePr>
        <p:xfrm>
          <a:off x="2441686" y="748866"/>
          <a:ext cx="8570178" cy="557641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82325">
                  <a:extLst>
                    <a:ext uri="{9D8B030D-6E8A-4147-A177-3AD203B41FA5}">
                      <a16:colId xmlns:a16="http://schemas.microsoft.com/office/drawing/2014/main" val="834878363"/>
                    </a:ext>
                  </a:extLst>
                </a:gridCol>
                <a:gridCol w="792163">
                  <a:extLst>
                    <a:ext uri="{9D8B030D-6E8A-4147-A177-3AD203B41FA5}">
                      <a16:colId xmlns:a16="http://schemas.microsoft.com/office/drawing/2014/main" val="3315234576"/>
                    </a:ext>
                  </a:extLst>
                </a:gridCol>
                <a:gridCol w="1468415">
                  <a:extLst>
                    <a:ext uri="{9D8B030D-6E8A-4147-A177-3AD203B41FA5}">
                      <a16:colId xmlns:a16="http://schemas.microsoft.com/office/drawing/2014/main" val="1066211400"/>
                    </a:ext>
                  </a:extLst>
                </a:gridCol>
                <a:gridCol w="1965847">
                  <a:extLst>
                    <a:ext uri="{9D8B030D-6E8A-4147-A177-3AD203B41FA5}">
                      <a16:colId xmlns:a16="http://schemas.microsoft.com/office/drawing/2014/main" val="2266377699"/>
                    </a:ext>
                  </a:extLst>
                </a:gridCol>
                <a:gridCol w="4061428">
                  <a:extLst>
                    <a:ext uri="{9D8B030D-6E8A-4147-A177-3AD203B41FA5}">
                      <a16:colId xmlns:a16="http://schemas.microsoft.com/office/drawing/2014/main" val="1109569627"/>
                    </a:ext>
                  </a:extLst>
                </a:gridCol>
              </a:tblGrid>
              <a:tr h="365961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6.8.202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</a:t>
                      </a:r>
                      <a:r>
                        <a:rPr lang="it-IT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P: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odø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Glimt</a:t>
                      </a:r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it-IT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 Dinamo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871224"/>
                  </a:ext>
                </a:extLst>
              </a:tr>
              <a:tr h="36225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2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.8.202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remier League: Manchester United - Liverpool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06685366"/>
                  </a:ext>
                </a:extLst>
              </a:tr>
              <a:tr h="36225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3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3.8.202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3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P: Playoff: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rven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Zvezda - Maccabi Haifa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64802509"/>
                  </a:ext>
                </a:extLst>
              </a:tr>
              <a:tr h="377492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4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5.8.202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remier League: Liverpool - Crystal Palace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25486137"/>
                  </a:ext>
                </a:extLst>
              </a:tr>
              <a:tr h="36225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5</a:t>
                      </a:r>
                      <a:endParaRPr lang="hr-HR" sz="900" b="0" i="0" u="none" strike="noStrike" noProof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8.8.202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3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9:30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Španjolsk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ig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Barcelona - Valladolid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v-SE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6208142"/>
                  </a:ext>
                </a:extLst>
              </a:tr>
              <a:tr h="36225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6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1.8.202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3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remier League: Liverpool - Newcastle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97617159"/>
                  </a:ext>
                </a:extLst>
              </a:tr>
              <a:tr h="36225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7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4.8.202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:00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Španjolsk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ig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Almeria - Real Madrid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73427743"/>
                  </a:ext>
                </a:extLst>
              </a:tr>
              <a:tr h="377492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8</a:t>
                      </a:r>
                      <a:endParaRPr lang="hr-HR" sz="900" b="0" i="0" u="none" strike="noStrike" noProof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4.8.202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P: Dinamo Zagreb -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odø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Glimt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86765869"/>
                  </a:ext>
                </a:extLst>
              </a:tr>
              <a:tr h="36225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9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0.8.202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3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45 </a:t>
                      </a:r>
                      <a:r>
                        <a:rPr lang="fr-F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remier League: Southampton - Chelsea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6342283"/>
                  </a:ext>
                </a:extLst>
              </a:tr>
              <a:tr h="36225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0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6.8.202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00 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iga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rvak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-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misija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71380775"/>
                  </a:ext>
                </a:extLst>
              </a:tr>
              <a:tr h="36225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1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.8.202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9:30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Španjolsk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ig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Atletico Madrid - Villarreal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66093980"/>
                  </a:ext>
                </a:extLst>
              </a:tr>
              <a:tr h="36225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2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7.8.202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3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P: Maccabi Haifa -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rven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Zvezda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82884498"/>
                  </a:ext>
                </a:extLst>
              </a:tr>
              <a:tr h="36225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3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.8.202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6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:00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Španjolsk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ig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Real Sociedad - Barcelona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8452615"/>
                  </a:ext>
                </a:extLst>
              </a:tr>
              <a:tr h="36225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4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.8.202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</a:t>
                      </a:r>
                      <a:r>
                        <a:rPr lang="fr-F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remier League: Crystal Palace - Arsenal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3860801"/>
                  </a:ext>
                </a:extLst>
              </a:tr>
              <a:tr h="36225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5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.8.202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 ACTION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:05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Građanin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opasnih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amjera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9464736"/>
                  </a:ext>
                </a:extLst>
              </a:tr>
            </a:tbl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690F0BC9-FFC5-4432-870F-DB42D0546F33}"/>
              </a:ext>
            </a:extLst>
          </p:cNvPr>
          <p:cNvSpPr/>
          <p:nvPr/>
        </p:nvSpPr>
        <p:spPr>
          <a:xfrm>
            <a:off x="0" y="0"/>
            <a:ext cx="2138576" cy="6858000"/>
          </a:xfrm>
          <a:prstGeom prst="rect">
            <a:avLst/>
          </a:prstGeom>
          <a:solidFill>
            <a:srgbClr val="1E23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rtlCol="0" anchor="t"/>
          <a:lstStyle/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bg1"/>
                </a:solidFill>
                <a:latin typeface="Open Sans Extrabold"/>
              </a:rPr>
              <a:t>LISTA TOP 15 NAJGLEDANIJIH </a:t>
            </a:r>
            <a:r>
              <a:rPr lang="en-US" sz="1100" dirty="0">
                <a:solidFill>
                  <a:schemeClr val="accent4"/>
                </a:solidFill>
                <a:latin typeface="Open Sans Extrabold"/>
              </a:rPr>
              <a:t>EMISIJA</a:t>
            </a:r>
            <a:endParaRPr lang="hr-HR" sz="1100" dirty="0">
              <a:solidFill>
                <a:schemeClr val="accent4"/>
              </a:solidFill>
              <a:latin typeface="Open Sans Extrabold"/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NA 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19-23:</a:t>
            </a:r>
          </a:p>
          <a:p>
            <a:pPr lvl="0">
              <a:lnSpc>
                <a:spcPct val="90000"/>
              </a:lnSpc>
              <a:defRPr/>
            </a:pPr>
            <a:r>
              <a:rPr lang="en-US" sz="1100" dirty="0">
                <a:solidFill>
                  <a:schemeClr val="accent2"/>
                </a:solidFill>
                <a:latin typeface="Open Sans Extrabold"/>
              </a:rPr>
              <a:t>NEZEMALJSKI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 TELEVIZIJSKI KANALI</a:t>
            </a:r>
          </a:p>
          <a:p>
            <a:pPr lvl="0">
              <a:lnSpc>
                <a:spcPct val="90000"/>
              </a:lnSpc>
              <a:defRPr/>
            </a:pPr>
            <a:endParaRPr lang="hr-HR" sz="11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</a:rPr>
              <a:t>U analizu su uključeni svi nezemaljski kanali</a:t>
            </a:r>
            <a:endParaRPr lang="hr-HR" sz="1100" dirty="0">
              <a:solidFill>
                <a:schemeClr val="accent2"/>
              </a:solidFill>
            </a:endParaRPr>
          </a:p>
          <a:p>
            <a:pPr lvl="0">
              <a:lnSpc>
                <a:spcPct val="90000"/>
              </a:lnSpc>
              <a:defRPr/>
            </a:pPr>
            <a:endParaRPr kumimoji="0" lang="en-US" sz="1100" b="0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bg1"/>
                </a:solidFill>
              </a:rPr>
              <a:t>U listu najgledanijih emisija ne ulaze duplicirani programi i programi kraći od 15 min. Ako program ima više od jednog emitiranja</a:t>
            </a:r>
            <a:r>
              <a:rPr lang="en-US" sz="1100" dirty="0">
                <a:solidFill>
                  <a:schemeClr val="bg1"/>
                </a:solidFill>
              </a:rPr>
              <a:t>,</a:t>
            </a:r>
            <a:r>
              <a:rPr lang="hr-HR" sz="1100" dirty="0">
                <a:solidFill>
                  <a:schemeClr val="bg1"/>
                </a:solidFill>
              </a:rPr>
              <a:t> u izvještaju je naveden najgledaniji sadržaj. </a:t>
            </a:r>
            <a:endParaRPr kumimoji="0" lang="hr-HR" sz="1100" b="0" i="0" u="none" strike="noStrike" kern="120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ns Light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35CCB8A-9852-4618-9150-B37FD5519E1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412" y="6495781"/>
            <a:ext cx="1035530" cy="182027"/>
          </a:xfrm>
          <a:prstGeom prst="rect">
            <a:avLst/>
          </a:prstGeom>
        </p:spPr>
      </p:pic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FA4AA757-2245-4D7E-9967-CB23D886516D}"/>
              </a:ext>
            </a:extLst>
          </p:cNvPr>
          <p:cNvGraphicFramePr/>
          <p:nvPr/>
        </p:nvGraphicFramePr>
        <p:xfrm>
          <a:off x="7137669" y="748863"/>
          <a:ext cx="1872000" cy="5586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3781C6FF-03C0-4664-8D70-76A31B0B2815}"/>
              </a:ext>
            </a:extLst>
          </p:cNvPr>
          <p:cNvGraphicFramePr/>
          <p:nvPr/>
        </p:nvGraphicFramePr>
        <p:xfrm>
          <a:off x="8552060" y="748864"/>
          <a:ext cx="1872000" cy="55862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" name="Diagramm 11">
            <a:extLst>
              <a:ext uri="{FF2B5EF4-FFF2-40B4-BE49-F238E27FC236}">
                <a16:creationId xmlns:a16="http://schemas.microsoft.com/office/drawing/2014/main" id="{F85A016E-91E4-4FA9-AC6E-4FF73820641B}"/>
              </a:ext>
            </a:extLst>
          </p:cNvPr>
          <p:cNvGraphicFramePr/>
          <p:nvPr/>
        </p:nvGraphicFramePr>
        <p:xfrm>
          <a:off x="9995783" y="748865"/>
          <a:ext cx="1872000" cy="55862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3" name="Rectangle 14">
            <a:extLst>
              <a:ext uri="{FF2B5EF4-FFF2-40B4-BE49-F238E27FC236}">
                <a16:creationId xmlns:a16="http://schemas.microsoft.com/office/drawing/2014/main" id="{A33F9945-5401-451A-8279-56C9261A85D5}"/>
              </a:ext>
            </a:extLst>
          </p:cNvPr>
          <p:cNvSpPr/>
          <p:nvPr/>
        </p:nvSpPr>
        <p:spPr>
          <a:xfrm>
            <a:off x="7129280" y="583214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5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(R)AMR</a:t>
            </a:r>
          </a:p>
        </p:txBody>
      </p:sp>
      <p:sp>
        <p:nvSpPr>
          <p:cNvPr id="14" name="Rectangle 14">
            <a:extLst>
              <a:ext uri="{FF2B5EF4-FFF2-40B4-BE49-F238E27FC236}">
                <a16:creationId xmlns:a16="http://schemas.microsoft.com/office/drawing/2014/main" id="{E3A0728E-4D9A-468D-8867-1ACD748C4B75}"/>
              </a:ext>
            </a:extLst>
          </p:cNvPr>
          <p:cNvSpPr/>
          <p:nvPr/>
        </p:nvSpPr>
        <p:spPr>
          <a:xfrm>
            <a:off x="8543671" y="583214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3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REAC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3F18D2B-8E66-4096-8FD4-52096F8B0DF1}"/>
              </a:ext>
            </a:extLst>
          </p:cNvPr>
          <p:cNvSpPr/>
          <p:nvPr/>
        </p:nvSpPr>
        <p:spPr>
          <a:xfrm>
            <a:off x="9992257" y="583214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SHARE</a:t>
            </a:r>
          </a:p>
        </p:txBody>
      </p:sp>
      <p:sp>
        <p:nvSpPr>
          <p:cNvPr id="16" name="Rectangle 14">
            <a:extLst>
              <a:ext uri="{FF2B5EF4-FFF2-40B4-BE49-F238E27FC236}">
                <a16:creationId xmlns:a16="http://schemas.microsoft.com/office/drawing/2014/main" id="{8BB0004E-059B-45FE-8482-D23A8F7180E2}"/>
              </a:ext>
            </a:extLst>
          </p:cNvPr>
          <p:cNvSpPr/>
          <p:nvPr/>
        </p:nvSpPr>
        <p:spPr>
          <a:xfrm>
            <a:off x="2989767" y="602386"/>
            <a:ext cx="468000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DATUM</a:t>
            </a:r>
          </a:p>
        </p:txBody>
      </p:sp>
      <p:sp>
        <p:nvSpPr>
          <p:cNvPr id="17" name="Rectangle 14">
            <a:extLst>
              <a:ext uri="{FF2B5EF4-FFF2-40B4-BE49-F238E27FC236}">
                <a16:creationId xmlns:a16="http://schemas.microsoft.com/office/drawing/2014/main" id="{98C7DE58-DB1A-460C-951D-8DD4C84DC711}"/>
              </a:ext>
            </a:extLst>
          </p:cNvPr>
          <p:cNvSpPr/>
          <p:nvPr/>
        </p:nvSpPr>
        <p:spPr>
          <a:xfrm>
            <a:off x="3928722" y="602386"/>
            <a:ext cx="468000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KANAL</a:t>
            </a:r>
          </a:p>
        </p:txBody>
      </p:sp>
      <p:sp>
        <p:nvSpPr>
          <p:cNvPr id="18" name="Rectangle 14">
            <a:extLst>
              <a:ext uri="{FF2B5EF4-FFF2-40B4-BE49-F238E27FC236}">
                <a16:creationId xmlns:a16="http://schemas.microsoft.com/office/drawing/2014/main" id="{9AA47847-FFA9-4179-8144-65EB95CBFEAA}"/>
              </a:ext>
            </a:extLst>
          </p:cNvPr>
          <p:cNvSpPr/>
          <p:nvPr/>
        </p:nvSpPr>
        <p:spPr>
          <a:xfrm>
            <a:off x="5367903" y="602386"/>
            <a:ext cx="468000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EMISIJA</a:t>
            </a:r>
          </a:p>
        </p:txBody>
      </p:sp>
    </p:spTree>
    <p:extLst>
      <p:ext uri="{BB962C8B-B14F-4D97-AF65-F5344CB8AC3E}">
        <p14:creationId xmlns:p14="http://schemas.microsoft.com/office/powerpoint/2010/main" val="39524894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adscanner">
      <a:dk1>
        <a:srgbClr val="2F3540"/>
      </a:dk1>
      <a:lt1>
        <a:srgbClr val="FFFFFF"/>
      </a:lt1>
      <a:dk2>
        <a:srgbClr val="2F3540"/>
      </a:dk2>
      <a:lt2>
        <a:srgbClr val="FFFFFF"/>
      </a:lt2>
      <a:accent1>
        <a:srgbClr val="007787"/>
      </a:accent1>
      <a:accent2>
        <a:srgbClr val="5EC0ED"/>
      </a:accent2>
      <a:accent3>
        <a:srgbClr val="2EC4B6"/>
      </a:accent3>
      <a:accent4>
        <a:srgbClr val="FFC000"/>
      </a:accent4>
      <a:accent5>
        <a:srgbClr val="FF5050"/>
      </a:accent5>
      <a:accent6>
        <a:srgbClr val="D65495"/>
      </a:accent6>
      <a:hlink>
        <a:srgbClr val="2F3540"/>
      </a:hlink>
      <a:folHlink>
        <a:srgbClr val="2F3540"/>
      </a:folHlink>
    </a:clrScheme>
    <a:fontScheme name="Benutzerdefiniert 6">
      <a:majorFont>
        <a:latin typeface="Open Sans Extrabold"/>
        <a:ea typeface=""/>
        <a:cs typeface=""/>
      </a:majorFont>
      <a:minorFont>
        <a:latin typeface="Open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>
            <a:lumMod val="75000"/>
          </a:schemeClr>
        </a:solidFill>
        <a:ln>
          <a:noFill/>
          <a:prstDash val="solid"/>
          <a:headEnd type="none" w="med" len="med"/>
          <a:tailEnd type="triangl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868789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7032</TotalTime>
  <Words>1267</Words>
  <Application>Microsoft Office PowerPoint</Application>
  <PresentationFormat>Widescreen</PresentationFormat>
  <Paragraphs>463</Paragraphs>
  <Slides>1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6" baseType="lpstr">
      <vt:lpstr>Arial</vt:lpstr>
      <vt:lpstr>Calibri</vt:lpstr>
      <vt:lpstr>Open Sans Extrabold</vt:lpstr>
      <vt:lpstr>Open Sans Light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Benzon</dc:creator>
  <cp:keywords/>
  <dc:description/>
  <cp:lastModifiedBy>Jovana Mladenovic</cp:lastModifiedBy>
  <cp:revision>1063</cp:revision>
  <cp:lastPrinted>2016-03-30T09:24:25Z</cp:lastPrinted>
  <dcterms:created xsi:type="dcterms:W3CDTF">2015-04-13T19:03:49Z</dcterms:created>
  <dcterms:modified xsi:type="dcterms:W3CDTF">2022-09-02T13:37:55Z</dcterms:modified>
  <cp:category/>
  <cp:contentStatus/>
</cp:coreProperties>
</file>